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4"/>
    <p:sldMasterId id="2147483746" r:id="rId5"/>
  </p:sldMasterIdLst>
  <p:notesMasterIdLst>
    <p:notesMasterId r:id="rId13"/>
  </p:notesMasterIdLst>
  <p:sldIdLst>
    <p:sldId id="2146846917" r:id="rId6"/>
    <p:sldId id="2146846919" r:id="rId7"/>
    <p:sldId id="2146846924" r:id="rId8"/>
    <p:sldId id="2146846925" r:id="rId9"/>
    <p:sldId id="2146846927" r:id="rId10"/>
    <p:sldId id="2146846928" r:id="rId11"/>
    <p:sldId id="2146846901" r:id="rId12"/>
  </p:sldIdLst>
  <p:sldSz cx="12192000" cy="6858000"/>
  <p:notesSz cx="6797675" cy="9874250"/>
  <p:custDataLst>
    <p:tags r:id="rId14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14C"/>
    <a:srgbClr val="00C057"/>
    <a:srgbClr val="00A84C"/>
    <a:srgbClr val="009999"/>
    <a:srgbClr val="E7E6E6"/>
    <a:srgbClr val="004C76"/>
    <a:srgbClr val="004165"/>
    <a:srgbClr val="7D9AAA"/>
    <a:srgbClr val="A8B400"/>
    <a:srgbClr val="00B2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Estilo Médio 4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799B23B-EC83-4686-B30A-512413B5E67A}" styleName="Estilo Claro 3 - Ênfas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tiro de Souza Anjos Neto - PrestServ" userId="66875401-7165-41b7-9e4f-34ae46c3b5db" providerId="ADAL" clId="{3E6FB203-346A-4AD0-B334-90DEEFB857A7}"/>
    <pc:docChg chg="addSld">
      <pc:chgData name="Satiro de Souza Anjos Neto - PrestServ" userId="66875401-7165-41b7-9e4f-34ae46c3b5db" providerId="ADAL" clId="{3E6FB203-346A-4AD0-B334-90DEEFB857A7}" dt="2023-04-11T18:55:53.483" v="0" actId="680"/>
      <pc:docMkLst>
        <pc:docMk/>
      </pc:docMkLst>
      <pc:sldChg chg="new">
        <pc:chgData name="Satiro de Souza Anjos Neto - PrestServ" userId="66875401-7165-41b7-9e4f-34ae46c3b5db" providerId="ADAL" clId="{3E6FB203-346A-4AD0-B334-90DEEFB857A7}" dt="2023-04-11T18:55:53.483" v="0" actId="680"/>
        <pc:sldMkLst>
          <pc:docMk/>
          <pc:sldMk cId="1356219064" sldId="2146846929"/>
        </pc:sldMkLst>
      </pc:sldChg>
    </pc:docChg>
  </pc:docChgLst>
  <pc:docChgLst>
    <pc:chgData name="Carlos Alberto Bezerra da Silva - PrestServ" userId="53f3be22-7512-43e3-bc73-6c87496d78c4" providerId="ADAL" clId="{25EE39F3-7038-4271-A877-8AA1CA5555BE}"/>
    <pc:docChg chg="delSld">
      <pc:chgData name="Carlos Alberto Bezerra da Silva - PrestServ" userId="53f3be22-7512-43e3-bc73-6c87496d78c4" providerId="ADAL" clId="{25EE39F3-7038-4271-A877-8AA1CA5555BE}" dt="2023-06-09T16:36:00.814" v="0" actId="47"/>
      <pc:docMkLst>
        <pc:docMk/>
      </pc:docMkLst>
      <pc:sldChg chg="del">
        <pc:chgData name="Carlos Alberto Bezerra da Silva - PrestServ" userId="53f3be22-7512-43e3-bc73-6c87496d78c4" providerId="ADAL" clId="{25EE39F3-7038-4271-A877-8AA1CA5555BE}" dt="2023-06-09T16:36:00.814" v="0" actId="47"/>
        <pc:sldMkLst>
          <pc:docMk/>
          <pc:sldMk cId="1356219064" sldId="2146846929"/>
        </pc:sldMkLst>
      </pc:sldChg>
    </pc:docChg>
  </pc:docChgLst>
  <pc:docChgLst>
    <pc:chgData name="Carlos Alberto Bezerra da Silva - PrestServ" userId="53f3be22-7512-43e3-bc73-6c87496d78c4" providerId="ADAL" clId="{F5B06D17-8383-432C-8D26-2303B31B01C7}"/>
    <pc:docChg chg="undo custSel addSld delSld modSld sldOrd">
      <pc:chgData name="Carlos Alberto Bezerra da Silva - PrestServ" userId="53f3be22-7512-43e3-bc73-6c87496d78c4" providerId="ADAL" clId="{F5B06D17-8383-432C-8D26-2303B31B01C7}" dt="2023-04-11T17:00:23.201" v="1565" actId="20577"/>
      <pc:docMkLst>
        <pc:docMk/>
      </pc:docMkLst>
      <pc:sldChg chg="del">
        <pc:chgData name="Carlos Alberto Bezerra da Silva - PrestServ" userId="53f3be22-7512-43e3-bc73-6c87496d78c4" providerId="ADAL" clId="{F5B06D17-8383-432C-8D26-2303B31B01C7}" dt="2023-04-11T16:18:54.242" v="338" actId="47"/>
        <pc:sldMkLst>
          <pc:docMk/>
          <pc:sldMk cId="2219961038" sldId="5787"/>
        </pc:sldMkLst>
      </pc:sldChg>
      <pc:sldChg chg="del">
        <pc:chgData name="Carlos Alberto Bezerra da Silva - PrestServ" userId="53f3be22-7512-43e3-bc73-6c87496d78c4" providerId="ADAL" clId="{F5B06D17-8383-432C-8D26-2303B31B01C7}" dt="2023-04-11T16:18:49.470" v="335" actId="47"/>
        <pc:sldMkLst>
          <pc:docMk/>
          <pc:sldMk cId="1367693586" sldId="5790"/>
        </pc:sldMkLst>
      </pc:sldChg>
      <pc:sldChg chg="modSp mod">
        <pc:chgData name="Carlos Alberto Bezerra da Silva - PrestServ" userId="53f3be22-7512-43e3-bc73-6c87496d78c4" providerId="ADAL" clId="{F5B06D17-8383-432C-8D26-2303B31B01C7}" dt="2023-04-11T16:09:55.722" v="173" actId="20577"/>
        <pc:sldMkLst>
          <pc:docMk/>
          <pc:sldMk cId="687392367" sldId="2146846917"/>
        </pc:sldMkLst>
        <pc:spChg chg="mod">
          <ac:chgData name="Carlos Alberto Bezerra da Silva - PrestServ" userId="53f3be22-7512-43e3-bc73-6c87496d78c4" providerId="ADAL" clId="{F5B06D17-8383-432C-8D26-2303B31B01C7}" dt="2023-04-11T16:09:55.722" v="173" actId="20577"/>
          <ac:spMkLst>
            <pc:docMk/>
            <pc:sldMk cId="687392367" sldId="2146846917"/>
            <ac:spMk id="9" creationId="{DB01D88B-DDF0-4A87-8643-ECBC8AEAFFB8}"/>
          </ac:spMkLst>
        </pc:spChg>
      </pc:sldChg>
      <pc:sldChg chg="addSp delSp modSp mod ord">
        <pc:chgData name="Carlos Alberto Bezerra da Silva - PrestServ" userId="53f3be22-7512-43e3-bc73-6c87496d78c4" providerId="ADAL" clId="{F5B06D17-8383-432C-8D26-2303B31B01C7}" dt="2023-04-11T16:41:15.010" v="1099" actId="1076"/>
        <pc:sldMkLst>
          <pc:docMk/>
          <pc:sldMk cId="4043441284" sldId="2146846919"/>
        </pc:sldMkLst>
        <pc:spChg chg="add mod">
          <ac:chgData name="Carlos Alberto Bezerra da Silva - PrestServ" userId="53f3be22-7512-43e3-bc73-6c87496d78c4" providerId="ADAL" clId="{F5B06D17-8383-432C-8D26-2303B31B01C7}" dt="2023-04-11T16:18:19.803" v="333" actId="20577"/>
          <ac:spMkLst>
            <pc:docMk/>
            <pc:sldMk cId="4043441284" sldId="2146846919"/>
            <ac:spMk id="2" creationId="{E28D6834-D2C3-097F-6258-41B0C7BF8DA4}"/>
          </ac:spMkLst>
        </pc:spChg>
        <pc:spChg chg="mod">
          <ac:chgData name="Carlos Alberto Bezerra da Silva - PrestServ" userId="53f3be22-7512-43e3-bc73-6c87496d78c4" providerId="ADAL" clId="{F5B06D17-8383-432C-8D26-2303B31B01C7}" dt="2023-04-11T16:09:35.357" v="157" actId="20577"/>
          <ac:spMkLst>
            <pc:docMk/>
            <pc:sldMk cId="4043441284" sldId="2146846919"/>
            <ac:spMk id="3" creationId="{00000000-0000-0000-0000-000000000000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5:31.007" v="114" actId="478"/>
          <ac:spMkLst>
            <pc:docMk/>
            <pc:sldMk cId="4043441284" sldId="2146846919"/>
            <ac:spMk id="5" creationId="{00000000-0000-0000-0000-000000000000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5:09.347" v="106" actId="478"/>
          <ac:spMkLst>
            <pc:docMk/>
            <pc:sldMk cId="4043441284" sldId="2146846919"/>
            <ac:spMk id="14" creationId="{C31D9F10-CE0A-448F-A618-32706C29A2E0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5:03.203" v="103" actId="478"/>
          <ac:spMkLst>
            <pc:docMk/>
            <pc:sldMk cId="4043441284" sldId="2146846919"/>
            <ac:spMk id="21" creationId="{35AFF20E-FB72-4353-96CD-C45E0CCA4D62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5:01.027" v="102" actId="478"/>
          <ac:spMkLst>
            <pc:docMk/>
            <pc:sldMk cId="4043441284" sldId="2146846919"/>
            <ac:spMk id="25" creationId="{B940FEE4-E4F9-44E5-A05F-D1B7BD13B4DA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4:58.963" v="101" actId="478"/>
          <ac:spMkLst>
            <pc:docMk/>
            <pc:sldMk cId="4043441284" sldId="2146846919"/>
            <ac:spMk id="26" creationId="{5E46C0F4-8FD7-4F86-B7DF-5920E78BA77D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5:28.814" v="113" actId="478"/>
          <ac:spMkLst>
            <pc:docMk/>
            <pc:sldMk cId="4043441284" sldId="2146846919"/>
            <ac:spMk id="27" creationId="{00000000-0000-0000-0000-000000000000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5:13.932" v="107" actId="478"/>
          <ac:spMkLst>
            <pc:docMk/>
            <pc:sldMk cId="4043441284" sldId="2146846919"/>
            <ac:spMk id="29" creationId="{A7F62E6D-7159-4039-A7D7-5371F8E7AF73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5:20.181" v="109" actId="478"/>
          <ac:spMkLst>
            <pc:docMk/>
            <pc:sldMk cId="4043441284" sldId="2146846919"/>
            <ac:spMk id="31" creationId="{7081951E-72F9-40E5-A9FA-5CB26B3FD7BA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5:21.678" v="110" actId="478"/>
          <ac:spMkLst>
            <pc:docMk/>
            <pc:sldMk cId="4043441284" sldId="2146846919"/>
            <ac:spMk id="33" creationId="{5655BFAC-FC25-412F-A684-CAA15F1E0EFC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5:18.157" v="108" actId="478"/>
          <ac:spMkLst>
            <pc:docMk/>
            <pc:sldMk cId="4043441284" sldId="2146846919"/>
            <ac:spMk id="38" creationId="{36310813-DA25-455D-9AFF-DB6D997FFC42}"/>
          </ac:spMkLst>
        </pc:spChg>
        <pc:grpChg chg="del">
          <ac:chgData name="Carlos Alberto Bezerra da Silva - PrestServ" userId="53f3be22-7512-43e3-bc73-6c87496d78c4" providerId="ADAL" clId="{F5B06D17-8383-432C-8D26-2303B31B01C7}" dt="2023-04-11T16:04:47.528" v="94" actId="478"/>
          <ac:grpSpMkLst>
            <pc:docMk/>
            <pc:sldMk cId="4043441284" sldId="2146846919"/>
            <ac:grpSpMk id="15" creationId="{A8871A2D-2100-460A-B6C7-3DA68EAC76C0}"/>
          </ac:grpSpMkLst>
        </pc:grpChg>
        <pc:grpChg chg="del">
          <ac:chgData name="Carlos Alberto Bezerra da Silva - PrestServ" userId="53f3be22-7512-43e3-bc73-6c87496d78c4" providerId="ADAL" clId="{F5B06D17-8383-432C-8D26-2303B31B01C7}" dt="2023-04-11T16:04:47.119" v="93" actId="478"/>
          <ac:grpSpMkLst>
            <pc:docMk/>
            <pc:sldMk cId="4043441284" sldId="2146846919"/>
            <ac:grpSpMk id="22" creationId="{5636FEDE-65D9-4601-AEB9-09E4A367AF01}"/>
          </ac:grpSpMkLst>
        </pc:grpChg>
        <pc:picChg chg="del">
          <ac:chgData name="Carlos Alberto Bezerra da Silva - PrestServ" userId="53f3be22-7512-43e3-bc73-6c87496d78c4" providerId="ADAL" clId="{F5B06D17-8383-432C-8D26-2303B31B01C7}" dt="2023-04-11T16:04:49.539" v="98" actId="478"/>
          <ac:picMkLst>
            <pc:docMk/>
            <pc:sldMk cId="4043441284" sldId="2146846919"/>
            <ac:picMk id="4" creationId="{FD4E1957-82C7-424B-9D94-99B91BFA49A6}"/>
          </ac:picMkLst>
        </pc:picChg>
        <pc:picChg chg="add del mod">
          <ac:chgData name="Carlos Alberto Bezerra da Silva - PrestServ" userId="53f3be22-7512-43e3-bc73-6c87496d78c4" providerId="ADAL" clId="{F5B06D17-8383-432C-8D26-2303B31B01C7}" dt="2023-04-11T16:16:22.701" v="198" actId="1076"/>
          <ac:picMkLst>
            <pc:docMk/>
            <pc:sldMk cId="4043441284" sldId="2146846919"/>
            <ac:picMk id="6" creationId="{00000000-0000-0000-0000-000000000000}"/>
          </ac:picMkLst>
        </pc:picChg>
        <pc:picChg chg="del">
          <ac:chgData name="Carlos Alberto Bezerra da Silva - PrestServ" userId="53f3be22-7512-43e3-bc73-6c87496d78c4" providerId="ADAL" clId="{F5B06D17-8383-432C-8D26-2303B31B01C7}" dt="2023-04-11T16:04:48.040" v="95" actId="478"/>
          <ac:picMkLst>
            <pc:docMk/>
            <pc:sldMk cId="4043441284" sldId="2146846919"/>
            <ac:picMk id="8" creationId="{D3DB0558-43D0-44FA-ABF9-AF7DDEA630F5}"/>
          </ac:picMkLst>
        </pc:picChg>
        <pc:picChg chg="add mod">
          <ac:chgData name="Carlos Alberto Bezerra da Silva - PrestServ" userId="53f3be22-7512-43e3-bc73-6c87496d78c4" providerId="ADAL" clId="{F5B06D17-8383-432C-8D26-2303B31B01C7}" dt="2023-04-11T16:41:15.010" v="1099" actId="1076"/>
          <ac:picMkLst>
            <pc:docMk/>
            <pc:sldMk cId="4043441284" sldId="2146846919"/>
            <ac:picMk id="9" creationId="{64EE971C-DA02-D2B1-F31B-697BE7F33BAD}"/>
          </ac:picMkLst>
        </pc:picChg>
        <pc:picChg chg="del">
          <ac:chgData name="Carlos Alberto Bezerra da Silva - PrestServ" userId="53f3be22-7512-43e3-bc73-6c87496d78c4" providerId="ADAL" clId="{F5B06D17-8383-432C-8D26-2303B31B01C7}" dt="2023-04-11T16:04:49.048" v="97" actId="478"/>
          <ac:picMkLst>
            <pc:docMk/>
            <pc:sldMk cId="4043441284" sldId="2146846919"/>
            <ac:picMk id="10" creationId="{17922F38-1905-4257-A085-025B08B3B3E4}"/>
          </ac:picMkLst>
        </pc:picChg>
        <pc:picChg chg="del">
          <ac:chgData name="Carlos Alberto Bezerra da Silva - PrestServ" userId="53f3be22-7512-43e3-bc73-6c87496d78c4" providerId="ADAL" clId="{F5B06D17-8383-432C-8D26-2303B31B01C7}" dt="2023-04-11T16:04:46.496" v="92" actId="478"/>
          <ac:picMkLst>
            <pc:docMk/>
            <pc:sldMk cId="4043441284" sldId="2146846919"/>
            <ac:picMk id="28" creationId="{883DC4F9-22EC-4120-8F46-0E336000D767}"/>
          </ac:picMkLst>
        </pc:picChg>
        <pc:picChg chg="del">
          <ac:chgData name="Carlos Alberto Bezerra da Silva - PrestServ" userId="53f3be22-7512-43e3-bc73-6c87496d78c4" providerId="ADAL" clId="{F5B06D17-8383-432C-8D26-2303B31B01C7}" dt="2023-04-11T16:04:48.571" v="96" actId="478"/>
          <ac:picMkLst>
            <pc:docMk/>
            <pc:sldMk cId="4043441284" sldId="2146846919"/>
            <ac:picMk id="36" creationId="{E14BBEA3-8D95-4AC4-A989-AF65CE58E04F}"/>
          </ac:picMkLst>
        </pc:picChg>
      </pc:sldChg>
      <pc:sldChg chg="del">
        <pc:chgData name="Carlos Alberto Bezerra da Silva - PrestServ" userId="53f3be22-7512-43e3-bc73-6c87496d78c4" providerId="ADAL" clId="{F5B06D17-8383-432C-8D26-2303B31B01C7}" dt="2023-04-11T16:18:55.855" v="339" actId="47"/>
        <pc:sldMkLst>
          <pc:docMk/>
          <pc:sldMk cId="2591287865" sldId="2146846920"/>
        </pc:sldMkLst>
      </pc:sldChg>
      <pc:sldChg chg="addSp delSp modSp del mod">
        <pc:chgData name="Carlos Alberto Bezerra da Silva - PrestServ" userId="53f3be22-7512-43e3-bc73-6c87496d78c4" providerId="ADAL" clId="{F5B06D17-8383-432C-8D26-2303B31B01C7}" dt="2023-04-11T16:18:51.481" v="336" actId="47"/>
        <pc:sldMkLst>
          <pc:docMk/>
          <pc:sldMk cId="1510071946" sldId="2146846922"/>
        </pc:sldMkLst>
        <pc:spChg chg="del">
          <ac:chgData name="Carlos Alberto Bezerra da Silva - PrestServ" userId="53f3be22-7512-43e3-bc73-6c87496d78c4" providerId="ADAL" clId="{F5B06D17-8383-432C-8D26-2303B31B01C7}" dt="2023-04-11T16:03:07.936" v="80" actId="478"/>
          <ac:spMkLst>
            <pc:docMk/>
            <pc:sldMk cId="1510071946" sldId="2146846922"/>
            <ac:spMk id="20" creationId="{A7CE8188-A83C-45A4-A057-EDBB282852EB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3:01.559" v="78" actId="478"/>
          <ac:spMkLst>
            <pc:docMk/>
            <pc:sldMk cId="1510071946" sldId="2146846922"/>
            <ac:spMk id="22" creationId="{AD0AE5AF-324A-45CC-9341-C30B1F7EB43E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3:05.152" v="79" actId="478"/>
          <ac:spMkLst>
            <pc:docMk/>
            <pc:sldMk cId="1510071946" sldId="2146846922"/>
            <ac:spMk id="24" creationId="{4E239A1B-B5E1-4549-9CB2-06AD10CEA7AF}"/>
          </ac:spMkLst>
        </pc:spChg>
        <pc:spChg chg="mod">
          <ac:chgData name="Carlos Alberto Bezerra da Silva - PrestServ" userId="53f3be22-7512-43e3-bc73-6c87496d78c4" providerId="ADAL" clId="{F5B06D17-8383-432C-8D26-2303B31B01C7}" dt="2023-04-11T16:03:22.578" v="83" actId="1076"/>
          <ac:spMkLst>
            <pc:docMk/>
            <pc:sldMk cId="1510071946" sldId="2146846922"/>
            <ac:spMk id="26" creationId="{A447AE36-0355-4BFE-98F9-BD93693946C0}"/>
          </ac:spMkLst>
        </pc:spChg>
        <pc:spChg chg="add del mod">
          <ac:chgData name="Carlos Alberto Bezerra da Silva - PrestServ" userId="53f3be22-7512-43e3-bc73-6c87496d78c4" providerId="ADAL" clId="{F5B06D17-8383-432C-8D26-2303B31B01C7}" dt="2023-04-11T16:04:25.535" v="91" actId="478"/>
          <ac:spMkLst>
            <pc:docMk/>
            <pc:sldMk cId="1510071946" sldId="2146846922"/>
            <ac:spMk id="27" creationId="{C5471551-4806-48BD-AFA6-9966DDC84568}"/>
          </ac:spMkLst>
        </pc:spChg>
        <pc:spChg chg="mod">
          <ac:chgData name="Carlos Alberto Bezerra da Silva - PrestServ" userId="53f3be22-7512-43e3-bc73-6c87496d78c4" providerId="ADAL" clId="{F5B06D17-8383-432C-8D26-2303B31B01C7}" dt="2023-04-11T16:04:14.632" v="87" actId="14100"/>
          <ac:spMkLst>
            <pc:docMk/>
            <pc:sldMk cId="1510071946" sldId="2146846922"/>
            <ac:spMk id="28" creationId="{7B725282-7FE2-4B97-86E8-F0A9AA71DC9D}"/>
          </ac:spMkLst>
        </pc:spChg>
        <pc:spChg chg="del mod">
          <ac:chgData name="Carlos Alberto Bezerra da Silva - PrestServ" userId="53f3be22-7512-43e3-bc73-6c87496d78c4" providerId="ADAL" clId="{F5B06D17-8383-432C-8D26-2303B31B01C7}" dt="2023-04-11T16:02:55.479" v="75" actId="478"/>
          <ac:spMkLst>
            <pc:docMk/>
            <pc:sldMk cId="1510071946" sldId="2146846922"/>
            <ac:spMk id="29" creationId="{F0598072-4640-4CF0-859C-20F0739E9CBA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2:52.878" v="73" actId="478"/>
          <ac:spMkLst>
            <pc:docMk/>
            <pc:sldMk cId="1510071946" sldId="2146846922"/>
            <ac:spMk id="33" creationId="{4964BE65-CC08-4412-8F0E-09E3A6655D1B}"/>
          </ac:spMkLst>
        </pc:spChg>
        <pc:spChg chg="del">
          <ac:chgData name="Carlos Alberto Bezerra da Silva - PrestServ" userId="53f3be22-7512-43e3-bc73-6c87496d78c4" providerId="ADAL" clId="{F5B06D17-8383-432C-8D26-2303B31B01C7}" dt="2023-04-11T16:02:58.920" v="77" actId="478"/>
          <ac:spMkLst>
            <pc:docMk/>
            <pc:sldMk cId="1510071946" sldId="2146846922"/>
            <ac:spMk id="34" creationId="{5D6E63DE-FAE0-44B9-8A8D-16B8095DB274}"/>
          </ac:spMkLst>
        </pc:spChg>
        <pc:picChg chg="del">
          <ac:chgData name="Carlos Alberto Bezerra da Silva - PrestServ" userId="53f3be22-7512-43e3-bc73-6c87496d78c4" providerId="ADAL" clId="{F5B06D17-8383-432C-8D26-2303B31B01C7}" dt="2023-04-11T16:02:57.670" v="76" actId="478"/>
          <ac:picMkLst>
            <pc:docMk/>
            <pc:sldMk cId="1510071946" sldId="2146846922"/>
            <ac:picMk id="6" creationId="{5D5D8530-61BB-4617-88FE-0D46972D3DC7}"/>
          </ac:picMkLst>
        </pc:picChg>
        <pc:picChg chg="del">
          <ac:chgData name="Carlos Alberto Bezerra da Silva - PrestServ" userId="53f3be22-7512-43e3-bc73-6c87496d78c4" providerId="ADAL" clId="{F5B06D17-8383-432C-8D26-2303B31B01C7}" dt="2023-04-11T16:02:49.055" v="71" actId="478"/>
          <ac:picMkLst>
            <pc:docMk/>
            <pc:sldMk cId="1510071946" sldId="2146846922"/>
            <ac:picMk id="19" creationId="{F391DC23-7F91-4BB2-A1BD-67125DD86E03}"/>
          </ac:picMkLst>
        </pc:picChg>
        <pc:picChg chg="del">
          <ac:chgData name="Carlos Alberto Bezerra da Silva - PrestServ" userId="53f3be22-7512-43e3-bc73-6c87496d78c4" providerId="ADAL" clId="{F5B06D17-8383-432C-8D26-2303B31B01C7}" dt="2023-04-11T16:02:49.853" v="72" actId="478"/>
          <ac:picMkLst>
            <pc:docMk/>
            <pc:sldMk cId="1510071946" sldId="2146846922"/>
            <ac:picMk id="21" creationId="{57E43912-12A1-4531-B25B-AE1E78E10E09}"/>
          </ac:picMkLst>
        </pc:picChg>
        <pc:picChg chg="del">
          <ac:chgData name="Carlos Alberto Bezerra da Silva - PrestServ" userId="53f3be22-7512-43e3-bc73-6c87496d78c4" providerId="ADAL" clId="{F5B06D17-8383-432C-8D26-2303B31B01C7}" dt="2023-04-11T16:02:48.065" v="70" actId="478"/>
          <ac:picMkLst>
            <pc:docMk/>
            <pc:sldMk cId="1510071946" sldId="2146846922"/>
            <ac:picMk id="4100" creationId="{8300ACC6-FD1C-4BEF-AE40-CF1E8312A58E}"/>
          </ac:picMkLst>
        </pc:picChg>
      </pc:sldChg>
      <pc:sldChg chg="del">
        <pc:chgData name="Carlos Alberto Bezerra da Silva - PrestServ" userId="53f3be22-7512-43e3-bc73-6c87496d78c4" providerId="ADAL" clId="{F5B06D17-8383-432C-8D26-2303B31B01C7}" dt="2023-04-11T16:18:52.988" v="337" actId="47"/>
        <pc:sldMkLst>
          <pc:docMk/>
          <pc:sldMk cId="2739686690" sldId="2146846923"/>
        </pc:sldMkLst>
      </pc:sldChg>
      <pc:sldChg chg="addSp delSp modSp add mod">
        <pc:chgData name="Carlos Alberto Bezerra da Silva - PrestServ" userId="53f3be22-7512-43e3-bc73-6c87496d78c4" providerId="ADAL" clId="{F5B06D17-8383-432C-8D26-2303B31B01C7}" dt="2023-04-11T16:23:27.981" v="391" actId="20577"/>
        <pc:sldMkLst>
          <pc:docMk/>
          <pc:sldMk cId="3710633714" sldId="2146846924"/>
        </pc:sldMkLst>
        <pc:spChg chg="mod">
          <ac:chgData name="Carlos Alberto Bezerra da Silva - PrestServ" userId="53f3be22-7512-43e3-bc73-6c87496d78c4" providerId="ADAL" clId="{F5B06D17-8383-432C-8D26-2303B31B01C7}" dt="2023-04-11T16:23:27.981" v="391" actId="20577"/>
          <ac:spMkLst>
            <pc:docMk/>
            <pc:sldMk cId="3710633714" sldId="2146846924"/>
            <ac:spMk id="2" creationId="{E28D6834-D2C3-097F-6258-41B0C7BF8DA4}"/>
          </ac:spMkLst>
        </pc:spChg>
        <pc:picChg chg="add mod">
          <ac:chgData name="Carlos Alberto Bezerra da Silva - PrestServ" userId="53f3be22-7512-43e3-bc73-6c87496d78c4" providerId="ADAL" clId="{F5B06D17-8383-432C-8D26-2303B31B01C7}" dt="2023-04-11T16:23:16.212" v="342" actId="1076"/>
          <ac:picMkLst>
            <pc:docMk/>
            <pc:sldMk cId="3710633714" sldId="2146846924"/>
            <ac:picMk id="5" creationId="{8A76D1F5-CBCB-BCCF-3418-A6810A8C5825}"/>
          </ac:picMkLst>
        </pc:picChg>
        <pc:picChg chg="del">
          <ac:chgData name="Carlos Alberto Bezerra da Silva - PrestServ" userId="53f3be22-7512-43e3-bc73-6c87496d78c4" providerId="ADAL" clId="{F5B06D17-8383-432C-8D26-2303B31B01C7}" dt="2023-04-11T16:18:59.819" v="340" actId="478"/>
          <ac:picMkLst>
            <pc:docMk/>
            <pc:sldMk cId="3710633714" sldId="2146846924"/>
            <ac:picMk id="9" creationId="{64EE971C-DA02-D2B1-F31B-697BE7F33BAD}"/>
          </ac:picMkLst>
        </pc:picChg>
      </pc:sldChg>
      <pc:sldChg chg="addSp delSp modSp add mod">
        <pc:chgData name="Carlos Alberto Bezerra da Silva - PrestServ" userId="53f3be22-7512-43e3-bc73-6c87496d78c4" providerId="ADAL" clId="{F5B06D17-8383-432C-8D26-2303B31B01C7}" dt="2023-04-11T16:57:22.027" v="1307" actId="207"/>
        <pc:sldMkLst>
          <pc:docMk/>
          <pc:sldMk cId="3598927939" sldId="2146846925"/>
        </pc:sldMkLst>
        <pc:spChg chg="mod">
          <ac:chgData name="Carlos Alberto Bezerra da Silva - PrestServ" userId="53f3be22-7512-43e3-bc73-6c87496d78c4" providerId="ADAL" clId="{F5B06D17-8383-432C-8D26-2303B31B01C7}" dt="2023-04-11T16:28:35.375" v="579" actId="14100"/>
          <ac:spMkLst>
            <pc:docMk/>
            <pc:sldMk cId="3598927939" sldId="2146846925"/>
            <ac:spMk id="2" creationId="{E28D6834-D2C3-097F-6258-41B0C7BF8DA4}"/>
          </ac:spMkLst>
        </pc:spChg>
        <pc:spChg chg="add mod">
          <ac:chgData name="Carlos Alberto Bezerra da Silva - PrestServ" userId="53f3be22-7512-43e3-bc73-6c87496d78c4" providerId="ADAL" clId="{F5B06D17-8383-432C-8D26-2303B31B01C7}" dt="2023-04-11T16:57:22.027" v="1307" actId="207"/>
          <ac:spMkLst>
            <pc:docMk/>
            <pc:sldMk cId="3598927939" sldId="2146846925"/>
            <ac:spMk id="8" creationId="{8DA7E923-5A04-8820-8D66-DB639B300A56}"/>
          </ac:spMkLst>
        </pc:spChg>
        <pc:picChg chg="del">
          <ac:chgData name="Carlos Alberto Bezerra da Silva - PrestServ" userId="53f3be22-7512-43e3-bc73-6c87496d78c4" providerId="ADAL" clId="{F5B06D17-8383-432C-8D26-2303B31B01C7}" dt="2023-04-11T16:23:40.071" v="393" actId="478"/>
          <ac:picMkLst>
            <pc:docMk/>
            <pc:sldMk cId="3598927939" sldId="2146846925"/>
            <ac:picMk id="5" creationId="{8A76D1F5-CBCB-BCCF-3418-A6810A8C5825}"/>
          </ac:picMkLst>
        </pc:picChg>
        <pc:picChg chg="mod">
          <ac:chgData name="Carlos Alberto Bezerra da Silva - PrestServ" userId="53f3be22-7512-43e3-bc73-6c87496d78c4" providerId="ADAL" clId="{F5B06D17-8383-432C-8D26-2303B31B01C7}" dt="2023-04-11T16:29:24.591" v="651" actId="1076"/>
          <ac:picMkLst>
            <pc:docMk/>
            <pc:sldMk cId="3598927939" sldId="2146846925"/>
            <ac:picMk id="6" creationId="{00000000-0000-0000-0000-000000000000}"/>
          </ac:picMkLst>
        </pc:picChg>
        <pc:picChg chg="add mod">
          <ac:chgData name="Carlos Alberto Bezerra da Silva - PrestServ" userId="53f3be22-7512-43e3-bc73-6c87496d78c4" providerId="ADAL" clId="{F5B06D17-8383-432C-8D26-2303B31B01C7}" dt="2023-04-11T16:29:31.655" v="653" actId="1076"/>
          <ac:picMkLst>
            <pc:docMk/>
            <pc:sldMk cId="3598927939" sldId="2146846925"/>
            <ac:picMk id="7" creationId="{67B5CA8B-122A-2DCE-22BD-68A511611896}"/>
          </ac:picMkLst>
        </pc:picChg>
      </pc:sldChg>
      <pc:sldChg chg="add del ord">
        <pc:chgData name="Carlos Alberto Bezerra da Silva - PrestServ" userId="53f3be22-7512-43e3-bc73-6c87496d78c4" providerId="ADAL" clId="{F5B06D17-8383-432C-8D26-2303B31B01C7}" dt="2023-04-11T16:41:57.371" v="1100" actId="47"/>
        <pc:sldMkLst>
          <pc:docMk/>
          <pc:sldMk cId="4199732076" sldId="2146846926"/>
        </pc:sldMkLst>
      </pc:sldChg>
      <pc:sldChg chg="addSp delSp modSp add mod ord">
        <pc:chgData name="Carlos Alberto Bezerra da Silva - PrestServ" userId="53f3be22-7512-43e3-bc73-6c87496d78c4" providerId="ADAL" clId="{F5B06D17-8383-432C-8D26-2303B31B01C7}" dt="2023-04-11T16:57:06.440" v="1305" actId="207"/>
        <pc:sldMkLst>
          <pc:docMk/>
          <pc:sldMk cId="1116191795" sldId="2146846927"/>
        </pc:sldMkLst>
        <pc:spChg chg="mod">
          <ac:chgData name="Carlos Alberto Bezerra da Silva - PrestServ" userId="53f3be22-7512-43e3-bc73-6c87496d78c4" providerId="ADAL" clId="{F5B06D17-8383-432C-8D26-2303B31B01C7}" dt="2023-04-11T16:42:52.335" v="1194" actId="5793"/>
          <ac:spMkLst>
            <pc:docMk/>
            <pc:sldMk cId="1116191795" sldId="2146846927"/>
            <ac:spMk id="2" creationId="{E28D6834-D2C3-097F-6258-41B0C7BF8DA4}"/>
          </ac:spMkLst>
        </pc:spChg>
        <pc:spChg chg="mod">
          <ac:chgData name="Carlos Alberto Bezerra da Silva - PrestServ" userId="53f3be22-7512-43e3-bc73-6c87496d78c4" providerId="ADAL" clId="{F5B06D17-8383-432C-8D26-2303B31B01C7}" dt="2023-04-11T16:57:06.440" v="1305" actId="207"/>
          <ac:spMkLst>
            <pc:docMk/>
            <pc:sldMk cId="1116191795" sldId="2146846927"/>
            <ac:spMk id="8" creationId="{8DA7E923-5A04-8820-8D66-DB639B300A56}"/>
          </ac:spMkLst>
        </pc:spChg>
        <pc:picChg chg="add mod">
          <ac:chgData name="Carlos Alberto Bezerra da Silva - PrestServ" userId="53f3be22-7512-43e3-bc73-6c87496d78c4" providerId="ADAL" clId="{F5B06D17-8383-432C-8D26-2303B31B01C7}" dt="2023-04-11T16:41:09.212" v="1098" actId="1076"/>
          <ac:picMkLst>
            <pc:docMk/>
            <pc:sldMk cId="1116191795" sldId="2146846927"/>
            <ac:picMk id="5" creationId="{05D4AA25-9EEF-37F7-FFB0-68737F54D436}"/>
          </ac:picMkLst>
        </pc:picChg>
        <pc:picChg chg="del">
          <ac:chgData name="Carlos Alberto Bezerra da Silva - PrestServ" userId="53f3be22-7512-43e3-bc73-6c87496d78c4" providerId="ADAL" clId="{F5B06D17-8383-432C-8D26-2303B31B01C7}" dt="2023-04-11T16:41:00.831" v="1096" actId="478"/>
          <ac:picMkLst>
            <pc:docMk/>
            <pc:sldMk cId="1116191795" sldId="2146846927"/>
            <ac:picMk id="7" creationId="{67B5CA8B-122A-2DCE-22BD-68A511611896}"/>
          </ac:picMkLst>
        </pc:picChg>
      </pc:sldChg>
      <pc:sldChg chg="addSp delSp modSp add mod ord">
        <pc:chgData name="Carlos Alberto Bezerra da Silva - PrestServ" userId="53f3be22-7512-43e3-bc73-6c87496d78c4" providerId="ADAL" clId="{F5B06D17-8383-432C-8D26-2303B31B01C7}" dt="2023-04-11T17:00:23.201" v="1565" actId="20577"/>
        <pc:sldMkLst>
          <pc:docMk/>
          <pc:sldMk cId="2355230754" sldId="2146846928"/>
        </pc:sldMkLst>
        <pc:spChg chg="mod">
          <ac:chgData name="Carlos Alberto Bezerra da Silva - PrestServ" userId="53f3be22-7512-43e3-bc73-6c87496d78c4" providerId="ADAL" clId="{F5B06D17-8383-432C-8D26-2303B31B01C7}" dt="2023-04-11T17:00:23.201" v="1565" actId="20577"/>
          <ac:spMkLst>
            <pc:docMk/>
            <pc:sldMk cId="2355230754" sldId="2146846928"/>
            <ac:spMk id="2" creationId="{E28D6834-D2C3-097F-6258-41B0C7BF8DA4}"/>
          </ac:spMkLst>
        </pc:spChg>
        <pc:picChg chg="del">
          <ac:chgData name="Carlos Alberto Bezerra da Silva - PrestServ" userId="53f3be22-7512-43e3-bc73-6c87496d78c4" providerId="ADAL" clId="{F5B06D17-8383-432C-8D26-2303B31B01C7}" dt="2023-04-11T16:58:57.730" v="1311" actId="478"/>
          <ac:picMkLst>
            <pc:docMk/>
            <pc:sldMk cId="2355230754" sldId="2146846928"/>
            <ac:picMk id="5" creationId="{8A76D1F5-CBCB-BCCF-3418-A6810A8C5825}"/>
          </ac:picMkLst>
        </pc:picChg>
        <pc:picChg chg="add mod">
          <ac:chgData name="Carlos Alberto Bezerra da Silva - PrestServ" userId="53f3be22-7512-43e3-bc73-6c87496d78c4" providerId="ADAL" clId="{F5B06D17-8383-432C-8D26-2303B31B01C7}" dt="2023-04-11T16:59:01.166" v="1313" actId="1076"/>
          <ac:picMkLst>
            <pc:docMk/>
            <pc:sldMk cId="2355230754" sldId="2146846928"/>
            <ac:picMk id="7" creationId="{F13FEFF9-32C2-CCB8-3E0A-94FAEAFD04BC}"/>
          </ac:picMkLst>
        </pc:picChg>
      </pc:sldChg>
      <pc:sldMasterChg chg="delSldLayout">
        <pc:chgData name="Carlos Alberto Bezerra da Silva - PrestServ" userId="53f3be22-7512-43e3-bc73-6c87496d78c4" providerId="ADAL" clId="{F5B06D17-8383-432C-8D26-2303B31B01C7}" dt="2023-04-11T16:18:55.855" v="339" actId="47"/>
        <pc:sldMasterMkLst>
          <pc:docMk/>
          <pc:sldMasterMk cId="951204204" sldId="2147483700"/>
        </pc:sldMasterMkLst>
        <pc:sldLayoutChg chg="del">
          <pc:chgData name="Carlos Alberto Bezerra da Silva - PrestServ" userId="53f3be22-7512-43e3-bc73-6c87496d78c4" providerId="ADAL" clId="{F5B06D17-8383-432C-8D26-2303B31B01C7}" dt="2023-04-11T16:18:55.855" v="339" actId="47"/>
          <pc:sldLayoutMkLst>
            <pc:docMk/>
            <pc:sldMasterMk cId="951204204" sldId="2147483700"/>
            <pc:sldLayoutMk cId="4255570292" sldId="214748374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F0CEA3-FE6D-4620-AAB9-14BE76ABE2FF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33488"/>
            <a:ext cx="5927725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F45938-D55D-471F-93EB-4928301B084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75128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863924" y="1"/>
            <a:ext cx="10328076" cy="6885384"/>
          </a:xfrm>
          <a:prstGeom prst="rect">
            <a:avLst/>
          </a:prstGeom>
        </p:spPr>
      </p:pic>
      <p:sp>
        <p:nvSpPr>
          <p:cNvPr id="8" name="Freeform 9"/>
          <p:cNvSpPr>
            <a:spLocks/>
          </p:cNvSpPr>
          <p:nvPr userDrawn="1"/>
        </p:nvSpPr>
        <p:spPr bwMode="auto">
          <a:xfrm flipH="1">
            <a:off x="-262250" y="-459429"/>
            <a:ext cx="6925305" cy="7370021"/>
          </a:xfrm>
          <a:custGeom>
            <a:avLst/>
            <a:gdLst>
              <a:gd name="T0" fmla="*/ 2147483646 w 1245"/>
              <a:gd name="T1" fmla="*/ 2147483646 h 1379"/>
              <a:gd name="T2" fmla="*/ 2147483646 w 1245"/>
              <a:gd name="T3" fmla="*/ 2147483646 h 1379"/>
              <a:gd name="T4" fmla="*/ 2147483646 w 1245"/>
              <a:gd name="T5" fmla="*/ 2147483646 h 1379"/>
              <a:gd name="T6" fmla="*/ 2147483646 w 1245"/>
              <a:gd name="T7" fmla="*/ 2147483646 h 1379"/>
              <a:gd name="T8" fmla="*/ 2147483646 w 1245"/>
              <a:gd name="T9" fmla="*/ 2147483646 h 1379"/>
              <a:gd name="T10" fmla="*/ 2147483646 w 1245"/>
              <a:gd name="T11" fmla="*/ 0 h 1379"/>
              <a:gd name="T12" fmla="*/ 2147483646 w 1245"/>
              <a:gd name="T13" fmla="*/ 2147483646 h 1379"/>
              <a:gd name="T14" fmla="*/ 2147483646 w 1245"/>
              <a:gd name="T15" fmla="*/ 2147483646 h 137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245" h="1379">
                <a:moveTo>
                  <a:pt x="285" y="1373"/>
                </a:moveTo>
                <a:cubicBezTo>
                  <a:pt x="12" y="793"/>
                  <a:pt x="12" y="793"/>
                  <a:pt x="12" y="793"/>
                </a:cubicBezTo>
                <a:cubicBezTo>
                  <a:pt x="0" y="768"/>
                  <a:pt x="7" y="732"/>
                  <a:pt x="26" y="713"/>
                </a:cubicBezTo>
                <a:cubicBezTo>
                  <a:pt x="613" y="145"/>
                  <a:pt x="613" y="145"/>
                  <a:pt x="613" y="145"/>
                </a:cubicBezTo>
                <a:cubicBezTo>
                  <a:pt x="633" y="126"/>
                  <a:pt x="671" y="107"/>
                  <a:pt x="698" y="102"/>
                </a:cubicBezTo>
                <a:cubicBezTo>
                  <a:pt x="1243" y="0"/>
                  <a:pt x="1243" y="0"/>
                  <a:pt x="1243" y="0"/>
                </a:cubicBezTo>
                <a:cubicBezTo>
                  <a:pt x="1239" y="121"/>
                  <a:pt x="1245" y="1186"/>
                  <a:pt x="1242" y="1372"/>
                </a:cubicBezTo>
                <a:cubicBezTo>
                  <a:pt x="1242" y="1372"/>
                  <a:pt x="316" y="1379"/>
                  <a:pt x="285" y="137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62516" tIns="81260" rIns="162516" bIns="81260"/>
          <a:lstStyle/>
          <a:p>
            <a:endParaRPr lang="en-US" sz="1333"/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75431" y="2077343"/>
            <a:ext cx="5120569" cy="2387600"/>
          </a:xfrm>
        </p:spPr>
        <p:txBody>
          <a:bodyPr anchor="b">
            <a:normAutofit/>
          </a:bodyPr>
          <a:lstStyle>
            <a:lvl1pPr algn="l">
              <a:defRPr sz="44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975431" y="4558084"/>
            <a:ext cx="5120569" cy="1655233"/>
          </a:xfrm>
        </p:spPr>
        <p:txBody>
          <a:bodyPr>
            <a:normAutofit/>
          </a:bodyPr>
          <a:lstStyle>
            <a:lvl1pPr marL="0" indent="0" algn="l">
              <a:buNone/>
              <a:defRPr sz="1956"/>
            </a:lvl1pPr>
            <a:lvl2pPr marL="812740" indent="0" algn="ctr">
              <a:buNone/>
              <a:defRPr sz="3556"/>
            </a:lvl2pPr>
            <a:lvl3pPr marL="1625479" indent="0" algn="ctr">
              <a:buNone/>
              <a:defRPr sz="3200"/>
            </a:lvl3pPr>
            <a:lvl4pPr marL="2438218" indent="0" algn="ctr">
              <a:buNone/>
              <a:defRPr sz="2844"/>
            </a:lvl4pPr>
            <a:lvl5pPr marL="3250956" indent="0" algn="ctr">
              <a:buNone/>
              <a:defRPr sz="2844"/>
            </a:lvl5pPr>
            <a:lvl6pPr marL="4063696" indent="0" algn="ctr">
              <a:buNone/>
              <a:defRPr sz="2844"/>
            </a:lvl6pPr>
            <a:lvl7pPr marL="4876435" indent="0" algn="ctr">
              <a:buNone/>
              <a:defRPr sz="2844"/>
            </a:lvl7pPr>
            <a:lvl8pPr marL="5689174" indent="0" algn="ctr">
              <a:buNone/>
              <a:defRPr sz="2844"/>
            </a:lvl8pPr>
            <a:lvl9pPr marL="6501913" indent="0" algn="ctr">
              <a:buNone/>
              <a:defRPr sz="2844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244"/>
            </a:lvl1pPr>
          </a:lstStyle>
          <a:p>
            <a:fld id="{49223C1E-6CBE-40F7-9E52-4743FAFDD842}" type="datetimeFigureOut">
              <a:rPr lang="pt-BR" smtClean="0"/>
              <a:pPr/>
              <a:t>09/06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244"/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44"/>
            </a:lvl1pPr>
          </a:lstStyle>
          <a:p>
            <a:fld id="{7BAC7171-AD61-475E-9116-7F05DF48D3E2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92602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7909" y="1826120"/>
            <a:ext cx="5156527" cy="4350523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566" y="1826120"/>
            <a:ext cx="5156526" cy="4350523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7917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026" y="366072"/>
            <a:ext cx="10516182" cy="1324624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40026" y="1680115"/>
            <a:ext cx="5156526" cy="825245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02" indent="0">
              <a:buNone/>
              <a:defRPr sz="2666" b="1"/>
            </a:lvl2pPr>
            <a:lvl3pPr marL="1218804" indent="0">
              <a:buNone/>
              <a:defRPr sz="2399" b="1"/>
            </a:lvl3pPr>
            <a:lvl4pPr marL="1828206" indent="0">
              <a:buNone/>
              <a:defRPr sz="2133" b="1"/>
            </a:lvl4pPr>
            <a:lvl5pPr marL="2437608" indent="0">
              <a:buNone/>
              <a:defRPr sz="2133" b="1"/>
            </a:lvl5pPr>
            <a:lvl6pPr marL="3047009" indent="0">
              <a:buNone/>
              <a:defRPr sz="2133" b="1"/>
            </a:lvl6pPr>
            <a:lvl7pPr marL="3656411" indent="0">
              <a:buNone/>
              <a:defRPr sz="2133" b="1"/>
            </a:lvl7pPr>
            <a:lvl8pPr marL="4265813" indent="0">
              <a:buNone/>
              <a:defRPr sz="2133" b="1"/>
            </a:lvl8pPr>
            <a:lvl9pPr marL="4875215" indent="0">
              <a:buNone/>
              <a:defRPr sz="2133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40026" y="2505360"/>
            <a:ext cx="5156526" cy="368398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175" y="1680115"/>
            <a:ext cx="5184033" cy="825245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02" indent="0">
              <a:buNone/>
              <a:defRPr sz="2666" b="1"/>
            </a:lvl2pPr>
            <a:lvl3pPr marL="1218804" indent="0">
              <a:buNone/>
              <a:defRPr sz="2399" b="1"/>
            </a:lvl3pPr>
            <a:lvl4pPr marL="1828206" indent="0">
              <a:buNone/>
              <a:defRPr sz="2133" b="1"/>
            </a:lvl4pPr>
            <a:lvl5pPr marL="2437608" indent="0">
              <a:buNone/>
              <a:defRPr sz="2133" b="1"/>
            </a:lvl5pPr>
            <a:lvl6pPr marL="3047009" indent="0">
              <a:buNone/>
              <a:defRPr sz="2133" b="1"/>
            </a:lvl6pPr>
            <a:lvl7pPr marL="3656411" indent="0">
              <a:buNone/>
              <a:defRPr sz="2133" b="1"/>
            </a:lvl7pPr>
            <a:lvl8pPr marL="4265813" indent="0">
              <a:buNone/>
              <a:defRPr sz="2133" b="1"/>
            </a:lvl8pPr>
            <a:lvl9pPr marL="4875215" indent="0">
              <a:buNone/>
              <a:defRPr sz="2133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175" y="2505360"/>
            <a:ext cx="5184033" cy="368398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8529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015327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5991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026" y="457059"/>
            <a:ext cx="3931402" cy="1599706"/>
          </a:xfrm>
        </p:spPr>
        <p:txBody>
          <a:bodyPr anchor="b"/>
          <a:lstStyle>
            <a:lvl1pPr>
              <a:defRPr sz="4265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4033" y="988179"/>
            <a:ext cx="6172174" cy="4873178"/>
          </a:xfrm>
        </p:spPr>
        <p:txBody>
          <a:bodyPr/>
          <a:lstStyle>
            <a:lvl1pPr>
              <a:defRPr sz="4265"/>
            </a:lvl1pPr>
            <a:lvl2pPr>
              <a:defRPr sz="3732"/>
            </a:lvl2pPr>
            <a:lvl3pPr>
              <a:defRPr sz="3199"/>
            </a:lvl3pPr>
            <a:lvl4pPr>
              <a:defRPr sz="2666"/>
            </a:lvl4pPr>
            <a:lvl5pPr>
              <a:defRPr sz="2666"/>
            </a:lvl5pPr>
            <a:lvl6pPr>
              <a:defRPr sz="2666"/>
            </a:lvl6pPr>
            <a:lvl7pPr>
              <a:defRPr sz="2666"/>
            </a:lvl7pPr>
            <a:lvl8pPr>
              <a:defRPr sz="2666"/>
            </a:lvl8pPr>
            <a:lvl9pPr>
              <a:defRPr sz="2666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026" y="2056766"/>
            <a:ext cx="3931402" cy="3813056"/>
          </a:xfrm>
        </p:spPr>
        <p:txBody>
          <a:bodyPr/>
          <a:lstStyle>
            <a:lvl1pPr marL="0" indent="0">
              <a:buNone/>
              <a:defRPr sz="2133"/>
            </a:lvl1pPr>
            <a:lvl2pPr marL="609402" indent="0">
              <a:buNone/>
              <a:defRPr sz="1866"/>
            </a:lvl2pPr>
            <a:lvl3pPr marL="1218804" indent="0">
              <a:buNone/>
              <a:defRPr sz="1599"/>
            </a:lvl3pPr>
            <a:lvl4pPr marL="1828206" indent="0">
              <a:buNone/>
              <a:defRPr sz="1333"/>
            </a:lvl4pPr>
            <a:lvl5pPr marL="2437608" indent="0">
              <a:buNone/>
              <a:defRPr sz="1333"/>
            </a:lvl5pPr>
            <a:lvl6pPr marL="3047009" indent="0">
              <a:buNone/>
              <a:defRPr sz="1333"/>
            </a:lvl6pPr>
            <a:lvl7pPr marL="3656411" indent="0">
              <a:buNone/>
              <a:defRPr sz="1333"/>
            </a:lvl7pPr>
            <a:lvl8pPr marL="4265813" indent="0">
              <a:buNone/>
              <a:defRPr sz="1333"/>
            </a:lvl8pPr>
            <a:lvl9pPr marL="4875215" indent="0">
              <a:buNone/>
              <a:defRPr sz="1333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81507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026" y="457059"/>
            <a:ext cx="3931402" cy="1599706"/>
          </a:xfrm>
        </p:spPr>
        <p:txBody>
          <a:bodyPr anchor="b"/>
          <a:lstStyle>
            <a:lvl1pPr>
              <a:defRPr sz="4265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4033" y="988179"/>
            <a:ext cx="6172174" cy="4873178"/>
          </a:xfrm>
        </p:spPr>
        <p:txBody>
          <a:bodyPr/>
          <a:lstStyle>
            <a:lvl1pPr marL="0" indent="0">
              <a:buNone/>
              <a:defRPr sz="4265"/>
            </a:lvl1pPr>
            <a:lvl2pPr marL="609402" indent="0">
              <a:buNone/>
              <a:defRPr sz="3732"/>
            </a:lvl2pPr>
            <a:lvl3pPr marL="1218804" indent="0">
              <a:buNone/>
              <a:defRPr sz="3199"/>
            </a:lvl3pPr>
            <a:lvl4pPr marL="1828206" indent="0">
              <a:buNone/>
              <a:defRPr sz="2666"/>
            </a:lvl4pPr>
            <a:lvl5pPr marL="2437608" indent="0">
              <a:buNone/>
              <a:defRPr sz="2666"/>
            </a:lvl5pPr>
            <a:lvl6pPr marL="3047009" indent="0">
              <a:buNone/>
              <a:defRPr sz="2666"/>
            </a:lvl6pPr>
            <a:lvl7pPr marL="3656411" indent="0">
              <a:buNone/>
              <a:defRPr sz="2666"/>
            </a:lvl7pPr>
            <a:lvl8pPr marL="4265813" indent="0">
              <a:buNone/>
              <a:defRPr sz="2666"/>
            </a:lvl8pPr>
            <a:lvl9pPr marL="4875215" indent="0">
              <a:buNone/>
              <a:defRPr sz="2666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026" y="2056766"/>
            <a:ext cx="3931402" cy="3813056"/>
          </a:xfrm>
        </p:spPr>
        <p:txBody>
          <a:bodyPr/>
          <a:lstStyle>
            <a:lvl1pPr marL="0" indent="0">
              <a:buNone/>
              <a:defRPr sz="2133"/>
            </a:lvl1pPr>
            <a:lvl2pPr marL="609402" indent="0">
              <a:buNone/>
              <a:defRPr sz="1866"/>
            </a:lvl2pPr>
            <a:lvl3pPr marL="1218804" indent="0">
              <a:buNone/>
              <a:defRPr sz="1599"/>
            </a:lvl3pPr>
            <a:lvl4pPr marL="1828206" indent="0">
              <a:buNone/>
              <a:defRPr sz="1333"/>
            </a:lvl4pPr>
            <a:lvl5pPr marL="2437608" indent="0">
              <a:buNone/>
              <a:defRPr sz="1333"/>
            </a:lvl5pPr>
            <a:lvl6pPr marL="3047009" indent="0">
              <a:buNone/>
              <a:defRPr sz="1333"/>
            </a:lvl6pPr>
            <a:lvl7pPr marL="3656411" indent="0">
              <a:buNone/>
              <a:defRPr sz="1333"/>
            </a:lvl7pPr>
            <a:lvl8pPr marL="4265813" indent="0">
              <a:buNone/>
              <a:defRPr sz="1333"/>
            </a:lvl8pPr>
            <a:lvl9pPr marL="4875215" indent="0">
              <a:buNone/>
              <a:defRPr sz="1333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92338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787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6104" y="366072"/>
            <a:ext cx="2627988" cy="5810573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7909" y="366072"/>
            <a:ext cx="7685065" cy="5810573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5289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/>
          <p:cNvSpPr/>
          <p:nvPr userDrawn="1"/>
        </p:nvSpPr>
        <p:spPr>
          <a:xfrm>
            <a:off x="-1" y="0"/>
            <a:ext cx="4714875" cy="6857999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5" name="Imagem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" t="22671" r="175" b="2065"/>
          <a:stretch/>
        </p:blipFill>
        <p:spPr>
          <a:xfrm>
            <a:off x="4815265" y="3480390"/>
            <a:ext cx="7376735" cy="3377609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" t="11098" r="479" b="14735"/>
          <a:stretch/>
        </p:blipFill>
        <p:spPr>
          <a:xfrm>
            <a:off x="4815265" y="16396"/>
            <a:ext cx="7376735" cy="3355346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 userDrawn="1">
            <p:ph type="ctrTitle"/>
          </p:nvPr>
        </p:nvSpPr>
        <p:spPr>
          <a:xfrm>
            <a:off x="480131" y="934343"/>
            <a:ext cx="3691819" cy="2387600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 userDrawn="1">
            <p:ph type="subTitle" idx="1"/>
          </p:nvPr>
        </p:nvSpPr>
        <p:spPr>
          <a:xfrm>
            <a:off x="480131" y="3415084"/>
            <a:ext cx="3691819" cy="1655233"/>
          </a:xfrm>
        </p:spPr>
        <p:txBody>
          <a:bodyPr>
            <a:normAutofit/>
          </a:bodyPr>
          <a:lstStyle>
            <a:lvl1pPr marL="0" indent="0" algn="l">
              <a:buNone/>
              <a:defRPr sz="1956"/>
            </a:lvl1pPr>
            <a:lvl2pPr marL="812740" indent="0" algn="ctr">
              <a:buNone/>
              <a:defRPr sz="3556"/>
            </a:lvl2pPr>
            <a:lvl3pPr marL="1625479" indent="0" algn="ctr">
              <a:buNone/>
              <a:defRPr sz="3200"/>
            </a:lvl3pPr>
            <a:lvl4pPr marL="2438218" indent="0" algn="ctr">
              <a:buNone/>
              <a:defRPr sz="2844"/>
            </a:lvl4pPr>
            <a:lvl5pPr marL="3250956" indent="0" algn="ctr">
              <a:buNone/>
              <a:defRPr sz="2844"/>
            </a:lvl5pPr>
            <a:lvl6pPr marL="4063696" indent="0" algn="ctr">
              <a:buNone/>
              <a:defRPr sz="2844"/>
            </a:lvl6pPr>
            <a:lvl7pPr marL="4876435" indent="0" algn="ctr">
              <a:buNone/>
              <a:defRPr sz="2844"/>
            </a:lvl7pPr>
            <a:lvl8pPr marL="5689174" indent="0" algn="ctr">
              <a:buNone/>
              <a:defRPr sz="2844"/>
            </a:lvl8pPr>
            <a:lvl9pPr marL="6501913" indent="0" algn="ctr">
              <a:buNone/>
              <a:defRPr sz="2844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z="1244"/>
            </a:lvl1pPr>
          </a:lstStyle>
          <a:p>
            <a:fld id="{49223C1E-6CBE-40F7-9E52-4743FAFDD842}" type="datetimeFigureOut">
              <a:rPr lang="pt-BR" smtClean="0"/>
              <a:pPr/>
              <a:t>09/06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sz="1244"/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 sz="1244"/>
            </a:lvl1pPr>
          </a:lstStyle>
          <a:p>
            <a:fld id="{7BAC7171-AD61-475E-9116-7F05DF48D3E2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72778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0CBF3-C236-450F-A175-88FF31744AB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4A70B-3A92-4CEC-97DD-AB3536A5C9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26471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P2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 userDrawn="1"/>
        </p:nvSpPr>
        <p:spPr>
          <a:xfrm flipV="1">
            <a:off x="0" y="0"/>
            <a:ext cx="12192000" cy="1154512"/>
          </a:xfrm>
          <a:prstGeom prst="rect">
            <a:avLst/>
          </a:prstGeom>
          <a:solidFill>
            <a:srgbClr val="2159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4" name="Agrupar 3"/>
          <p:cNvGrpSpPr/>
          <p:nvPr userDrawn="1"/>
        </p:nvGrpSpPr>
        <p:grpSpPr>
          <a:xfrm>
            <a:off x="9884548" y="6321932"/>
            <a:ext cx="2069081" cy="400388"/>
            <a:chOff x="372533" y="6386747"/>
            <a:chExt cx="2069081" cy="400388"/>
          </a:xfrm>
        </p:grpSpPr>
        <p:pic>
          <p:nvPicPr>
            <p:cNvPr id="5" name="Picture 679" descr="http://portalpetrobras.petrobras.com.br/conteudo/petr_banco_imagens/NP2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533" y="6386747"/>
              <a:ext cx="388727" cy="4003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CaixaDeTexto 6"/>
            <p:cNvSpPr txBox="1"/>
            <p:nvPr userDrawn="1"/>
          </p:nvSpPr>
          <p:spPr>
            <a:xfrm>
              <a:off x="718065" y="6473273"/>
              <a:ext cx="172354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900">
                  <a:solidFill>
                    <a:schemeClr val="tx1">
                      <a:lumMod val="75000"/>
                      <a:lumOff val="25000"/>
                    </a:schemeClr>
                  </a:solidFill>
                  <a:latin typeface="Petrobras Sans" panose="020B0606020204030204" pitchFamily="34" charset="0"/>
                </a:rPr>
                <a:t>COMPARTILHADO/CST/STMP</a:t>
              </a:r>
            </a:p>
          </p:txBody>
        </p:sp>
      </p:grp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9448800" y="58056"/>
            <a:ext cx="27432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7F1E98-B34B-4AA9-8BFB-3057DD2926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52310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anco_sem_mar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8994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4EE1619-DFB3-4CA2-9CAC-D48E5176C5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69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59" imgH="360" progId="TCLayout.ActiveDocument.1">
                  <p:embed/>
                </p:oleObj>
              </mc:Choice>
              <mc:Fallback>
                <p:oleObj name="Slide do think-cell" r:id="rId3" imgW="359" imgH="36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4EE1619-DFB3-4CA2-9CAC-D48E5176C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55633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3472" y="1121487"/>
            <a:ext cx="9145058" cy="2388980"/>
          </a:xfrm>
        </p:spPr>
        <p:txBody>
          <a:bodyPr anchor="b"/>
          <a:lstStyle>
            <a:lvl1pPr algn="ctr">
              <a:defRPr sz="7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3472" y="3601455"/>
            <a:ext cx="9145058" cy="1656839"/>
          </a:xfrm>
        </p:spPr>
        <p:txBody>
          <a:bodyPr/>
          <a:lstStyle>
            <a:lvl1pPr marL="0" indent="0" algn="ctr">
              <a:buNone/>
              <a:defRPr sz="3199"/>
            </a:lvl1pPr>
            <a:lvl2pPr marL="609402" indent="0" algn="ctr">
              <a:buNone/>
              <a:defRPr sz="2666"/>
            </a:lvl2pPr>
            <a:lvl3pPr marL="1218804" indent="0" algn="ctr">
              <a:buNone/>
              <a:defRPr sz="2399"/>
            </a:lvl3pPr>
            <a:lvl4pPr marL="1828206" indent="0" algn="ctr">
              <a:buNone/>
              <a:defRPr sz="2133"/>
            </a:lvl4pPr>
            <a:lvl5pPr marL="2437608" indent="0" algn="ctr">
              <a:buNone/>
              <a:defRPr sz="2133"/>
            </a:lvl5pPr>
            <a:lvl6pPr marL="3047009" indent="0" algn="ctr">
              <a:buNone/>
              <a:defRPr sz="2133"/>
            </a:lvl6pPr>
            <a:lvl7pPr marL="3656411" indent="0" algn="ctr">
              <a:buNone/>
              <a:defRPr sz="2133"/>
            </a:lvl7pPr>
            <a:lvl8pPr marL="4265813" indent="0" algn="ctr">
              <a:buNone/>
              <a:defRPr sz="2133"/>
            </a:lvl8pPr>
            <a:lvl9pPr marL="4875215" indent="0" algn="ctr">
              <a:buNone/>
              <a:defRPr sz="2133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63091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07224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563" y="1709739"/>
            <a:ext cx="10516182" cy="2852386"/>
          </a:xfrm>
        </p:spPr>
        <p:txBody>
          <a:bodyPr anchor="b"/>
          <a:lstStyle>
            <a:lvl1pPr>
              <a:defRPr sz="7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563" y="4589634"/>
            <a:ext cx="10516182" cy="1500253"/>
          </a:xfrm>
        </p:spPr>
        <p:txBody>
          <a:bodyPr/>
          <a:lstStyle>
            <a:lvl1pPr marL="0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1pPr>
            <a:lvl2pPr marL="609402" indent="0">
              <a:buNone/>
              <a:defRPr sz="2666">
                <a:solidFill>
                  <a:schemeClr val="tx1">
                    <a:tint val="75000"/>
                  </a:schemeClr>
                </a:solidFill>
              </a:defRPr>
            </a:lvl2pPr>
            <a:lvl3pPr marL="1218804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3pPr>
            <a:lvl4pPr marL="1828206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760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0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6411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581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521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69349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892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0" imgW="421" imgH="423" progId="TCLayout.ActiveDocument.1">
                  <p:embed/>
                </p:oleObj>
              </mc:Choice>
              <mc:Fallback>
                <p:oleObj name="Slide do think-cell" r:id="rId10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pt-BR" sz="4000" b="0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2770CBF3-C236-450F-A175-88FF31744AB8}" type="datetimeFigureOut">
              <a:rPr lang="pt-BR" smtClean="0"/>
              <a:pPr/>
              <a:t>09/06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4894A70B-3A92-4CEC-97DD-AB3536A5C96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51204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42" r:id="rId2"/>
    <p:sldLayoutId id="2147483730" r:id="rId3"/>
    <p:sldLayoutId id="2147483740" r:id="rId4"/>
    <p:sldLayoutId id="2147483744" r:id="rId5"/>
    <p:sldLayoutId id="2147483745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264"/>
          </a:xfrm>
          <a:prstGeom prst="rect">
            <a:avLst/>
          </a:prstGeom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7910" y="366072"/>
            <a:ext cx="10516182" cy="13246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7910" y="1826120"/>
            <a:ext cx="10516182" cy="43505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7909" y="6356504"/>
            <a:ext cx="2744364" cy="3639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4FDD26-4D51-477A-9470-089900FC7B48}" type="datetimeFigureOut">
              <a:rPr lang="pt-BR" smtClean="0"/>
              <a:t>09/06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9315" y="6356504"/>
            <a:ext cx="4113372" cy="3639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09729" y="6356504"/>
            <a:ext cx="2744363" cy="3639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DE2D95-4EBC-4AF3-8426-BBED7928F8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800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</p:sldLayoutIdLst>
  <p:txStyles>
    <p:titleStyle>
      <a:lvl1pPr algn="l" defTabSz="1218804" rtl="0" eaLnBrk="1" latinLnBrk="0" hangingPunct="1">
        <a:lnSpc>
          <a:spcPct val="90000"/>
        </a:lnSpc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01" indent="-304701" algn="l" defTabSz="1218804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2" kern="1200">
          <a:solidFill>
            <a:schemeClr val="tx1"/>
          </a:solidFill>
          <a:latin typeface="+mn-lt"/>
          <a:ea typeface="+mn-ea"/>
          <a:cs typeface="+mn-cs"/>
        </a:defRPr>
      </a:lvl1pPr>
      <a:lvl2pPr marL="914103" indent="-304701" algn="l" defTabSz="1218804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2pPr>
      <a:lvl3pPr marL="1523505" indent="-304701" algn="l" defTabSz="1218804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3pPr>
      <a:lvl4pPr marL="2132907" indent="-304701" algn="l" defTabSz="1218804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742308" indent="-304701" algn="l" defTabSz="1218804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351710" indent="-304701" algn="l" defTabSz="1218804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961112" indent="-304701" algn="l" defTabSz="1218804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570514" indent="-304701" algn="l" defTabSz="1218804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916" indent="-304701" algn="l" defTabSz="1218804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6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8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09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1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8DCD3CA5-7CB1-4EC7-B41F-87B8FE61EB8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11" b="6117"/>
          <a:stretch/>
        </p:blipFill>
        <p:spPr>
          <a:xfrm>
            <a:off x="234" y="851"/>
            <a:ext cx="12221390" cy="6888756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EE70E4FB-79FB-4395-B8C3-7F89378391C8}"/>
              </a:ext>
            </a:extLst>
          </p:cNvPr>
          <p:cNvSpPr>
            <a:spLocks/>
          </p:cNvSpPr>
          <p:nvPr/>
        </p:nvSpPr>
        <p:spPr bwMode="auto">
          <a:xfrm>
            <a:off x="-508357" y="-419055"/>
            <a:ext cx="5973610" cy="7277642"/>
          </a:xfrm>
          <a:custGeom>
            <a:avLst/>
            <a:gdLst>
              <a:gd name="T0" fmla="*/ 1951 w 1956"/>
              <a:gd name="T1" fmla="*/ 1517 h 2262"/>
              <a:gd name="T2" fmla="*/ 1891 w 1956"/>
              <a:gd name="T3" fmla="*/ 1613 h 2262"/>
              <a:gd name="T4" fmla="*/ 69 w 1956"/>
              <a:gd name="T5" fmla="*/ 2249 h 2262"/>
              <a:gd name="T6" fmla="*/ 0 w 1956"/>
              <a:gd name="T7" fmla="*/ 2200 h 2262"/>
              <a:gd name="T8" fmla="*/ 0 w 1956"/>
              <a:gd name="T9" fmla="*/ 66 h 2262"/>
              <a:gd name="T10" fmla="*/ 71 w 1956"/>
              <a:gd name="T11" fmla="*/ 9 h 2262"/>
              <a:gd name="T12" fmla="*/ 1733 w 1956"/>
              <a:gd name="T13" fmla="*/ 377 h 2262"/>
              <a:gd name="T14" fmla="*/ 1813 w 1956"/>
              <a:gd name="T15" fmla="*/ 465 h 2262"/>
              <a:gd name="T16" fmla="*/ 1951 w 1956"/>
              <a:gd name="T17" fmla="*/ 1517 h 2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56" h="2262">
                <a:moveTo>
                  <a:pt x="1951" y="1517"/>
                </a:moveTo>
                <a:cubicBezTo>
                  <a:pt x="1956" y="1556"/>
                  <a:pt x="1929" y="1599"/>
                  <a:pt x="1891" y="1613"/>
                </a:cubicBezTo>
                <a:cubicBezTo>
                  <a:pt x="69" y="2249"/>
                  <a:pt x="69" y="2249"/>
                  <a:pt x="69" y="2249"/>
                </a:cubicBezTo>
                <a:cubicBezTo>
                  <a:pt x="31" y="2262"/>
                  <a:pt x="0" y="2240"/>
                  <a:pt x="0" y="2200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26"/>
                  <a:pt x="32" y="0"/>
                  <a:pt x="71" y="9"/>
                </a:cubicBezTo>
                <a:cubicBezTo>
                  <a:pt x="1733" y="377"/>
                  <a:pt x="1733" y="377"/>
                  <a:pt x="1733" y="377"/>
                </a:cubicBezTo>
                <a:cubicBezTo>
                  <a:pt x="1772" y="386"/>
                  <a:pt x="1808" y="425"/>
                  <a:pt x="1813" y="465"/>
                </a:cubicBezTo>
                <a:lnTo>
                  <a:pt x="1951" y="1517"/>
                </a:lnTo>
                <a:close/>
              </a:path>
            </a:pathLst>
          </a:custGeom>
          <a:solidFill>
            <a:srgbClr val="006298"/>
          </a:solidFill>
          <a:ln>
            <a:noFill/>
          </a:ln>
        </p:spPr>
        <p:txBody>
          <a:bodyPr vert="horz" wrap="square" lIns="121878" tIns="60939" rIns="121878" bIns="60939" numCol="1" anchor="t" anchorCtr="0" compatLnSpc="1">
            <a:prstTxWarp prst="textNoShape">
              <a:avLst/>
            </a:prstTxWarp>
          </a:bodyPr>
          <a:lstStyle/>
          <a:p>
            <a:endParaRPr lang="pt-BR" sz="2399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B01D88B-DDF0-4A87-8643-ECBC8AEAFFB8}"/>
              </a:ext>
            </a:extLst>
          </p:cNvPr>
          <p:cNvSpPr txBox="1"/>
          <p:nvPr/>
        </p:nvSpPr>
        <p:spPr>
          <a:xfrm>
            <a:off x="354697" y="1410215"/>
            <a:ext cx="3457697" cy="3907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47">
              <a:spcAft>
                <a:spcPts val="800"/>
              </a:spcAft>
            </a:pPr>
            <a:r>
              <a:rPr lang="pt-BR" sz="1866" b="1">
                <a:solidFill>
                  <a:schemeClr val="bg1"/>
                </a:solidFill>
                <a:latin typeface="Petrobras Sans Light" panose="020B0406020204030204" pitchFamily="34" charset="0"/>
              </a:rPr>
              <a:t>SERVIÇOS COMPARTILHADOS</a:t>
            </a:r>
          </a:p>
          <a:p>
            <a:pPr defTabSz="914347">
              <a:spcAft>
                <a:spcPts val="800"/>
              </a:spcAft>
            </a:pPr>
            <a:endParaRPr lang="pt-BR" sz="2399" b="1">
              <a:solidFill>
                <a:schemeClr val="bg1"/>
              </a:solidFill>
              <a:latin typeface="Petrobras Sans" panose="020B0606020204030204" pitchFamily="34" charset="0"/>
            </a:endParaRPr>
          </a:p>
          <a:p>
            <a:pPr defTabSz="914347">
              <a:spcAft>
                <a:spcPts val="800"/>
              </a:spcAft>
            </a:pPr>
            <a:r>
              <a:rPr lang="pt-BR" sz="2666" b="1">
                <a:solidFill>
                  <a:schemeClr val="bg1"/>
                </a:solidFill>
                <a:latin typeface="Petrobras Sans XBold" panose="020B0806020204030204" pitchFamily="34" charset="0"/>
              </a:rPr>
              <a:t>Solicitação de inclusão em rota administrativa RNEST</a:t>
            </a:r>
            <a:br>
              <a:rPr lang="pt-BR" sz="2666" b="1">
                <a:solidFill>
                  <a:schemeClr val="bg1"/>
                </a:solidFill>
                <a:latin typeface="Petrobras Sans XBold" panose="020B0806020204030204" pitchFamily="34" charset="0"/>
              </a:rPr>
            </a:br>
            <a:r>
              <a:rPr lang="pt-BR" sz="2399" b="1">
                <a:solidFill>
                  <a:srgbClr val="FFDA55"/>
                </a:solidFill>
                <a:latin typeface="Petrobras Sans" panose="020B0606020204030204" pitchFamily="34" charset="0"/>
              </a:rPr>
              <a:t>—</a:t>
            </a:r>
          </a:p>
          <a:p>
            <a:pPr defTabSz="914347">
              <a:spcAft>
                <a:spcPts val="800"/>
              </a:spcAft>
            </a:pPr>
            <a:endParaRPr lang="pt-BR" sz="2399" i="1">
              <a:solidFill>
                <a:schemeClr val="bg1"/>
              </a:solidFill>
              <a:latin typeface="Petrobras Sans" panose="020B0606020204030204" pitchFamily="34" charset="0"/>
            </a:endParaRPr>
          </a:p>
          <a:p>
            <a:pPr defTabSz="914347">
              <a:spcAft>
                <a:spcPts val="800"/>
              </a:spcAft>
            </a:pPr>
            <a:endParaRPr lang="pt-BR" sz="2399" i="1">
              <a:solidFill>
                <a:schemeClr val="bg1"/>
              </a:solidFill>
              <a:latin typeface="Petrobras Sans" panose="020B0606020204030204" pitchFamily="34" charset="0"/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flipH="1" flipV="1">
            <a:off x="-1793842" y="-168426"/>
            <a:ext cx="7532249" cy="7836695"/>
          </a:xfrm>
          <a:custGeom>
            <a:avLst/>
            <a:gdLst>
              <a:gd name="T0" fmla="*/ 2147483646 w 1245"/>
              <a:gd name="T1" fmla="*/ 2147483646 h 1379"/>
              <a:gd name="T2" fmla="*/ 2147483646 w 1245"/>
              <a:gd name="T3" fmla="*/ 2147483646 h 1379"/>
              <a:gd name="T4" fmla="*/ 2147483646 w 1245"/>
              <a:gd name="T5" fmla="*/ 2147483646 h 1379"/>
              <a:gd name="T6" fmla="*/ 2147483646 w 1245"/>
              <a:gd name="T7" fmla="*/ 2147483646 h 1379"/>
              <a:gd name="T8" fmla="*/ 2147483646 w 1245"/>
              <a:gd name="T9" fmla="*/ 2147483646 h 1379"/>
              <a:gd name="T10" fmla="*/ 2147483646 w 1245"/>
              <a:gd name="T11" fmla="*/ 0 h 1379"/>
              <a:gd name="T12" fmla="*/ 2147483646 w 1245"/>
              <a:gd name="T13" fmla="*/ 2147483646 h 1379"/>
              <a:gd name="T14" fmla="*/ 2147483646 w 1245"/>
              <a:gd name="T15" fmla="*/ 2147483646 h 137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245" h="1379">
                <a:moveTo>
                  <a:pt x="285" y="1373"/>
                </a:moveTo>
                <a:cubicBezTo>
                  <a:pt x="12" y="793"/>
                  <a:pt x="12" y="793"/>
                  <a:pt x="12" y="793"/>
                </a:cubicBezTo>
                <a:cubicBezTo>
                  <a:pt x="0" y="768"/>
                  <a:pt x="7" y="732"/>
                  <a:pt x="26" y="713"/>
                </a:cubicBezTo>
                <a:cubicBezTo>
                  <a:pt x="613" y="145"/>
                  <a:pt x="613" y="145"/>
                  <a:pt x="613" y="145"/>
                </a:cubicBezTo>
                <a:cubicBezTo>
                  <a:pt x="633" y="126"/>
                  <a:pt x="671" y="107"/>
                  <a:pt x="698" y="102"/>
                </a:cubicBezTo>
                <a:cubicBezTo>
                  <a:pt x="1243" y="0"/>
                  <a:pt x="1243" y="0"/>
                  <a:pt x="1243" y="0"/>
                </a:cubicBezTo>
                <a:cubicBezTo>
                  <a:pt x="1239" y="121"/>
                  <a:pt x="1245" y="1186"/>
                  <a:pt x="1242" y="1372"/>
                </a:cubicBezTo>
                <a:cubicBezTo>
                  <a:pt x="1242" y="1372"/>
                  <a:pt x="316" y="1379"/>
                  <a:pt x="285" y="1373"/>
                </a:cubicBezTo>
                <a:close/>
              </a:path>
            </a:pathLst>
          </a:custGeom>
          <a:noFill/>
          <a:ln>
            <a:solidFill>
              <a:srgbClr val="00B2A9"/>
            </a:solidFill>
          </a:ln>
        </p:spPr>
        <p:txBody>
          <a:bodyPr lIns="194935" tIns="97470" rIns="194935" bIns="97470"/>
          <a:lstStyle/>
          <a:p>
            <a:endParaRPr lang="en-US" sz="1599"/>
          </a:p>
        </p:txBody>
      </p:sp>
      <p:sp>
        <p:nvSpPr>
          <p:cNvPr id="22" name="Forma Livre 21"/>
          <p:cNvSpPr/>
          <p:nvPr/>
        </p:nvSpPr>
        <p:spPr>
          <a:xfrm rot="10800000">
            <a:off x="8271913" y="5736745"/>
            <a:ext cx="4681219" cy="2104500"/>
          </a:xfrm>
          <a:custGeom>
            <a:avLst/>
            <a:gdLst>
              <a:gd name="connsiteX0" fmla="*/ 0 w 9145589"/>
              <a:gd name="connsiteY0" fmla="*/ 0 h 4111512"/>
              <a:gd name="connsiteX1" fmla="*/ 9145589 w 9145589"/>
              <a:gd name="connsiteY1" fmla="*/ 0 h 4111512"/>
              <a:gd name="connsiteX2" fmla="*/ 9145589 w 9145589"/>
              <a:gd name="connsiteY2" fmla="*/ 180002 h 4111512"/>
              <a:gd name="connsiteX3" fmla="*/ 9145589 w 9145589"/>
              <a:gd name="connsiteY3" fmla="*/ 631147 h 4111512"/>
              <a:gd name="connsiteX4" fmla="*/ 9142890 w 9145589"/>
              <a:gd name="connsiteY4" fmla="*/ 631147 h 4111512"/>
              <a:gd name="connsiteX5" fmla="*/ 9142697 w 9145589"/>
              <a:gd name="connsiteY5" fmla="*/ 663448 h 4111512"/>
              <a:gd name="connsiteX6" fmla="*/ 5597784 w 9145589"/>
              <a:gd name="connsiteY6" fmla="*/ 4034337 h 4111512"/>
              <a:gd name="connsiteX7" fmla="*/ 5379118 w 9145589"/>
              <a:gd name="connsiteY7" fmla="*/ 4108714 h 4111512"/>
              <a:gd name="connsiteX8" fmla="*/ 0 w 9145589"/>
              <a:gd name="connsiteY8" fmla="*/ 3393113 h 4111512"/>
              <a:gd name="connsiteX9" fmla="*/ 1 w 9145589"/>
              <a:gd name="connsiteY9" fmla="*/ 631147 h 4111512"/>
              <a:gd name="connsiteX10" fmla="*/ 0 w 9145589"/>
              <a:gd name="connsiteY10" fmla="*/ 631147 h 411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5589" h="4111512">
                <a:moveTo>
                  <a:pt x="0" y="0"/>
                </a:moveTo>
                <a:lnTo>
                  <a:pt x="9145589" y="0"/>
                </a:lnTo>
                <a:lnTo>
                  <a:pt x="9145589" y="180002"/>
                </a:lnTo>
                <a:lnTo>
                  <a:pt x="9145589" y="631147"/>
                </a:lnTo>
                <a:lnTo>
                  <a:pt x="9142890" y="631147"/>
                </a:lnTo>
                <a:lnTo>
                  <a:pt x="9142697" y="663448"/>
                </a:lnTo>
                <a:lnTo>
                  <a:pt x="5597784" y="4034337"/>
                </a:lnTo>
                <a:cubicBezTo>
                  <a:pt x="5534692" y="4098317"/>
                  <a:pt x="5468335" y="4119845"/>
                  <a:pt x="5379118" y="4108714"/>
                </a:cubicBezTo>
                <a:lnTo>
                  <a:pt x="0" y="3393113"/>
                </a:lnTo>
                <a:lnTo>
                  <a:pt x="1" y="631147"/>
                </a:lnTo>
                <a:lnTo>
                  <a:pt x="0" y="631147"/>
                </a:lnTo>
                <a:close/>
              </a:path>
            </a:pathLst>
          </a:cu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408">
              <a:defRPr/>
            </a:pPr>
            <a:endParaRPr lang="pt-BR" sz="2398" kern="0">
              <a:solidFill>
                <a:srgbClr val="FDC82F"/>
              </a:solidFill>
              <a:latin typeface="Trebuchet MS" panose="020B0603020202020204"/>
            </a:endParaRPr>
          </a:p>
        </p:txBody>
      </p:sp>
      <p:pic>
        <p:nvPicPr>
          <p:cNvPr id="23" name="Imagem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6134" y="6094796"/>
            <a:ext cx="1985133" cy="575235"/>
          </a:xfrm>
          <a:prstGeom prst="rect">
            <a:avLst/>
          </a:prstGeom>
          <a:noFill/>
        </p:spPr>
      </p:pic>
      <p:grpSp>
        <p:nvGrpSpPr>
          <p:cNvPr id="2" name="Agrupar 1"/>
          <p:cNvGrpSpPr/>
          <p:nvPr/>
        </p:nvGrpSpPr>
        <p:grpSpPr>
          <a:xfrm>
            <a:off x="38854" y="7069008"/>
            <a:ext cx="7404689" cy="608535"/>
            <a:chOff x="29150" y="5303399"/>
            <a:chExt cx="5555445" cy="456560"/>
          </a:xfrm>
        </p:grpSpPr>
        <p:sp>
          <p:nvSpPr>
            <p:cNvPr id="25" name="Retângulo 24"/>
            <p:cNvSpPr/>
            <p:nvPr/>
          </p:nvSpPr>
          <p:spPr>
            <a:xfrm>
              <a:off x="29150" y="5303399"/>
              <a:ext cx="456560" cy="456560"/>
            </a:xfrm>
            <a:prstGeom prst="rect">
              <a:avLst/>
            </a:prstGeom>
            <a:solidFill>
              <a:srgbClr val="008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133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66</a:t>
              </a:r>
            </a:p>
          </p:txBody>
        </p:sp>
        <p:sp>
          <p:nvSpPr>
            <p:cNvPr id="26" name="Retângulo 25"/>
            <p:cNvSpPr/>
            <p:nvPr/>
          </p:nvSpPr>
          <p:spPr>
            <a:xfrm>
              <a:off x="666511" y="5303399"/>
              <a:ext cx="456560" cy="456560"/>
            </a:xfrm>
            <a:prstGeom prst="rect">
              <a:avLst/>
            </a:prstGeom>
            <a:solidFill>
              <a:srgbClr val="FDC8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253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200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47</a:t>
              </a:r>
            </a:p>
          </p:txBody>
        </p:sp>
        <p:sp>
          <p:nvSpPr>
            <p:cNvPr id="27" name="Retângulo 26"/>
            <p:cNvSpPr/>
            <p:nvPr/>
          </p:nvSpPr>
          <p:spPr>
            <a:xfrm>
              <a:off x="1303872" y="5303399"/>
              <a:ext cx="456560" cy="456560"/>
            </a:xfrm>
            <a:prstGeom prst="rect">
              <a:avLst/>
            </a:prstGeom>
            <a:solidFill>
              <a:srgbClr val="00B2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178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169</a:t>
              </a:r>
            </a:p>
          </p:txBody>
        </p:sp>
        <p:sp>
          <p:nvSpPr>
            <p:cNvPr id="28" name="Retângulo 27"/>
            <p:cNvSpPr/>
            <p:nvPr/>
          </p:nvSpPr>
          <p:spPr>
            <a:xfrm>
              <a:off x="1941233" y="5303399"/>
              <a:ext cx="456560" cy="456560"/>
            </a:xfrm>
            <a:prstGeom prst="rect">
              <a:avLst/>
            </a:prstGeom>
            <a:solidFill>
              <a:srgbClr val="C4D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196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214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0</a:t>
              </a:r>
            </a:p>
          </p:txBody>
        </p:sp>
        <p:sp>
          <p:nvSpPr>
            <p:cNvPr id="29" name="Retângulo 28"/>
            <p:cNvSpPr/>
            <p:nvPr/>
          </p:nvSpPr>
          <p:spPr>
            <a:xfrm>
              <a:off x="2578594" y="5303399"/>
              <a:ext cx="456560" cy="456560"/>
            </a:xfrm>
            <a:prstGeom prst="rect">
              <a:avLst/>
            </a:prstGeom>
            <a:solidFill>
              <a:srgbClr val="EB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pt-BR" sz="1200">
                  <a:solidFill>
                    <a:srgbClr val="75787B"/>
                  </a:solidFill>
                  <a:latin typeface="Petrobras Sans" panose="020B0606020204030204" pitchFamily="34" charset="0"/>
                </a:rPr>
                <a:t>235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solidFill>
                    <a:srgbClr val="75787B"/>
                  </a:solidFill>
                  <a:latin typeface="Petrobras Sans" panose="020B0606020204030204" pitchFamily="34" charset="0"/>
                </a:rPr>
                <a:t>255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solidFill>
                    <a:srgbClr val="75787B"/>
                  </a:solidFill>
                  <a:latin typeface="Petrobras Sans" panose="020B0606020204030204" pitchFamily="34" charset="0"/>
                </a:rPr>
                <a:t>0</a:t>
              </a:r>
            </a:p>
          </p:txBody>
        </p:sp>
        <p:sp>
          <p:nvSpPr>
            <p:cNvPr id="30" name="Retângulo 29"/>
            <p:cNvSpPr/>
            <p:nvPr/>
          </p:nvSpPr>
          <p:spPr>
            <a:xfrm>
              <a:off x="3215955" y="5303399"/>
              <a:ext cx="456560" cy="456560"/>
            </a:xfrm>
            <a:prstGeom prst="rect">
              <a:avLst/>
            </a:prstGeom>
            <a:solidFill>
              <a:srgbClr val="ED8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237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139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0</a:t>
              </a:r>
            </a:p>
          </p:txBody>
        </p:sp>
        <p:sp>
          <p:nvSpPr>
            <p:cNvPr id="31" name="Retângulo 30"/>
            <p:cNvSpPr/>
            <p:nvPr/>
          </p:nvSpPr>
          <p:spPr>
            <a:xfrm>
              <a:off x="3853316" y="5303399"/>
              <a:ext cx="456560" cy="456560"/>
            </a:xfrm>
            <a:prstGeom prst="rect">
              <a:avLst/>
            </a:prstGeom>
            <a:solidFill>
              <a:srgbClr val="0062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98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152</a:t>
              </a:r>
            </a:p>
          </p:txBody>
        </p:sp>
        <p:sp>
          <p:nvSpPr>
            <p:cNvPr id="32" name="Retângulo 31"/>
            <p:cNvSpPr/>
            <p:nvPr/>
          </p:nvSpPr>
          <p:spPr>
            <a:xfrm>
              <a:off x="4490677" y="5303399"/>
              <a:ext cx="456560" cy="456560"/>
            </a:xfrm>
            <a:prstGeom prst="rect">
              <a:avLst/>
            </a:prstGeom>
            <a:solidFill>
              <a:srgbClr val="3DD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61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218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255</a:t>
              </a:r>
            </a:p>
          </p:txBody>
        </p:sp>
        <p:sp>
          <p:nvSpPr>
            <p:cNvPr id="33" name="Retângulo 32"/>
            <p:cNvSpPr/>
            <p:nvPr/>
          </p:nvSpPr>
          <p:spPr>
            <a:xfrm>
              <a:off x="5128035" y="5303399"/>
              <a:ext cx="456560" cy="456560"/>
            </a:xfrm>
            <a:prstGeom prst="rect">
              <a:avLst/>
            </a:prstGeom>
            <a:solidFill>
              <a:srgbClr val="7578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117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120</a:t>
              </a:r>
            </a:p>
            <a:p>
              <a:pPr algn="ctr">
                <a:lnSpc>
                  <a:spcPct val="90000"/>
                </a:lnSpc>
              </a:pPr>
              <a:r>
                <a:rPr lang="pt-BR" sz="1200">
                  <a:latin typeface="Petrobras Sans" panose="020B0606020204030204" pitchFamily="34" charset="0"/>
                </a:rPr>
                <a:t>12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8739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1" t="5700"/>
          <a:stretch/>
        </p:blipFill>
        <p:spPr>
          <a:xfrm>
            <a:off x="-14439" y="0"/>
            <a:ext cx="12220877" cy="7307607"/>
          </a:xfrm>
          <a:prstGeom prst="rect">
            <a:avLst/>
          </a:prstGeom>
        </p:spPr>
      </p:pic>
      <p:sp>
        <p:nvSpPr>
          <p:cNvPr id="272" name="AutoShape 29"/>
          <p:cNvSpPr>
            <a:spLocks noChangeAspect="1" noChangeArrowheads="1" noTextEdit="1"/>
          </p:cNvSpPr>
          <p:nvPr/>
        </p:nvSpPr>
        <p:spPr bwMode="auto">
          <a:xfrm>
            <a:off x="4589446" y="8376104"/>
            <a:ext cx="587352" cy="581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defTabSz="914347">
              <a:defRPr/>
            </a:pPr>
            <a:endParaRPr lang="pt-BR" sz="23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75063" y="298069"/>
            <a:ext cx="113668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47">
              <a:defRPr/>
            </a:pPr>
            <a:r>
              <a:rPr lang="pt-BR" sz="2800" b="1">
                <a:solidFill>
                  <a:prstClr val="white"/>
                </a:solidFill>
                <a:latin typeface="Petrobras Sans XBold" panose="020B0806020204030204" pitchFamily="34" charset="0"/>
              </a:rPr>
              <a:t>Catálogo de serviços Petrobras</a:t>
            </a:r>
            <a:endParaRPr lang="pt-BR" b="1">
              <a:solidFill>
                <a:prstClr val="white"/>
              </a:solidFill>
              <a:latin typeface="Petrobras Sans XBold" panose="020B0806020204030204" pitchFamily="34" charset="0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28D6834-D2C3-097F-6258-41B0C7BF8DA4}"/>
              </a:ext>
            </a:extLst>
          </p:cNvPr>
          <p:cNvSpPr/>
          <p:nvPr/>
        </p:nvSpPr>
        <p:spPr>
          <a:xfrm>
            <a:off x="197004" y="1058789"/>
            <a:ext cx="1136681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47">
              <a:defRPr/>
            </a:pPr>
            <a: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  <a:t>Na busca dos serviços escrever a palavra transporte e dentre as opções selecionar: </a:t>
            </a: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  <a:t>Transporte Residência x Unidade (CSP)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64EE971C-DA02-D2B1-F31B-697BE7F33B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834" y="1889786"/>
            <a:ext cx="7305675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441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1" t="5700"/>
          <a:stretch/>
        </p:blipFill>
        <p:spPr>
          <a:xfrm>
            <a:off x="-14439" y="0"/>
            <a:ext cx="12220877" cy="7307607"/>
          </a:xfrm>
          <a:prstGeom prst="rect">
            <a:avLst/>
          </a:prstGeom>
        </p:spPr>
      </p:pic>
      <p:sp>
        <p:nvSpPr>
          <p:cNvPr id="272" name="AutoShape 29"/>
          <p:cNvSpPr>
            <a:spLocks noChangeAspect="1" noChangeArrowheads="1" noTextEdit="1"/>
          </p:cNvSpPr>
          <p:nvPr/>
        </p:nvSpPr>
        <p:spPr bwMode="auto">
          <a:xfrm>
            <a:off x="4589446" y="8376104"/>
            <a:ext cx="587352" cy="581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defTabSz="914347">
              <a:defRPr/>
            </a:pPr>
            <a:endParaRPr lang="pt-BR" sz="23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75063" y="298069"/>
            <a:ext cx="113668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47">
              <a:defRPr/>
            </a:pPr>
            <a:r>
              <a:rPr lang="pt-BR" sz="2800" b="1">
                <a:solidFill>
                  <a:prstClr val="white"/>
                </a:solidFill>
                <a:latin typeface="Petrobras Sans XBold" panose="020B0806020204030204" pitchFamily="34" charset="0"/>
              </a:rPr>
              <a:t>Catálogo de serviços Petrobras</a:t>
            </a:r>
            <a:endParaRPr lang="pt-BR" b="1">
              <a:solidFill>
                <a:prstClr val="white"/>
              </a:solidFill>
              <a:latin typeface="Petrobras Sans XBold" panose="020B0806020204030204" pitchFamily="34" charset="0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28D6834-D2C3-097F-6258-41B0C7BF8DA4}"/>
              </a:ext>
            </a:extLst>
          </p:cNvPr>
          <p:cNvSpPr/>
          <p:nvPr/>
        </p:nvSpPr>
        <p:spPr>
          <a:xfrm>
            <a:off x="197004" y="1058789"/>
            <a:ext cx="1136681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47">
              <a:defRPr/>
            </a:pPr>
            <a: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  <a:t>Informar qual funcionário ira fazer o uso da rota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8A76D1F5-CBCB-BCCF-3418-A6810A8C58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004" y="1889786"/>
            <a:ext cx="8067675" cy="364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633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1" t="5700"/>
          <a:stretch/>
        </p:blipFill>
        <p:spPr>
          <a:xfrm>
            <a:off x="-28877" y="0"/>
            <a:ext cx="12220877" cy="7307607"/>
          </a:xfrm>
          <a:prstGeom prst="rect">
            <a:avLst/>
          </a:prstGeom>
        </p:spPr>
      </p:pic>
      <p:sp>
        <p:nvSpPr>
          <p:cNvPr id="272" name="AutoShape 29"/>
          <p:cNvSpPr>
            <a:spLocks noChangeAspect="1" noChangeArrowheads="1" noTextEdit="1"/>
          </p:cNvSpPr>
          <p:nvPr/>
        </p:nvSpPr>
        <p:spPr bwMode="auto">
          <a:xfrm>
            <a:off x="4589446" y="8376104"/>
            <a:ext cx="587352" cy="581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defTabSz="914347">
              <a:defRPr/>
            </a:pPr>
            <a:endParaRPr lang="pt-BR" sz="23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75063" y="298069"/>
            <a:ext cx="113668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47">
              <a:defRPr/>
            </a:pPr>
            <a:r>
              <a:rPr lang="pt-BR" sz="2800" b="1">
                <a:solidFill>
                  <a:prstClr val="white"/>
                </a:solidFill>
                <a:latin typeface="Petrobras Sans XBold" panose="020B0806020204030204" pitchFamily="34" charset="0"/>
              </a:rPr>
              <a:t>Catálogo de serviços Petrobras</a:t>
            </a:r>
            <a:endParaRPr lang="pt-BR" b="1">
              <a:solidFill>
                <a:prstClr val="white"/>
              </a:solidFill>
              <a:latin typeface="Petrobras Sans XBold" panose="020B0806020204030204" pitchFamily="34" charset="0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28D6834-D2C3-097F-6258-41B0C7BF8DA4}"/>
              </a:ext>
            </a:extLst>
          </p:cNvPr>
          <p:cNvSpPr/>
          <p:nvPr/>
        </p:nvSpPr>
        <p:spPr>
          <a:xfrm>
            <a:off x="0" y="1058789"/>
            <a:ext cx="120015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914347">
              <a:buFont typeface="Arial" panose="020B0604020202020204" pitchFamily="34" charset="0"/>
              <a:buChar char="•"/>
              <a:defRPr/>
            </a:pPr>
            <a: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  <a:t>O centro de custo a ser preenchido (para funcionários que estão atuando na RNEST) é o 150005525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67B5CA8B-122A-2DCE-22BD-68A5116118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94252"/>
            <a:ext cx="7924800" cy="2600325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8DA7E923-5A04-8820-8D66-DB639B300A56}"/>
              </a:ext>
            </a:extLst>
          </p:cNvPr>
          <p:cNvSpPr/>
          <p:nvPr/>
        </p:nvSpPr>
        <p:spPr>
          <a:xfrm>
            <a:off x="0" y="4329930"/>
            <a:ext cx="1200150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914347">
              <a:buFont typeface="Arial" panose="020B0604020202020204" pitchFamily="34" charset="0"/>
              <a:buChar char="•"/>
              <a:defRPr/>
            </a:pPr>
            <a: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  <a:t>Selecionar a opção conforme demanda</a:t>
            </a: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r>
              <a:rPr lang="pt-BR" sz="2000">
                <a:solidFill>
                  <a:schemeClr val="accent2"/>
                </a:solidFill>
                <a:latin typeface="Petrobras Sans XBold" panose="020B0806020204030204" pitchFamily="34" charset="0"/>
              </a:rPr>
              <a:t>USO FIXO:</a:t>
            </a: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  <a:t>Sem data prevista de conclusão - Para esse tipo de solicitação o endereço do funcionário dentro do SIRH deve estar atualizado</a:t>
            </a: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r>
              <a:rPr lang="pt-BR" sz="2000">
                <a:solidFill>
                  <a:schemeClr val="accent2"/>
                </a:solidFill>
                <a:latin typeface="Petrobras Sans XBold" panose="020B0806020204030204" pitchFamily="34" charset="0"/>
              </a:rPr>
              <a:t>USO EVENTUAL:</a:t>
            </a: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  <a:t>Com período prevista conclusão – Para este tipo de solicitação deve ser informado o endereço temporário em que o funcionário esteja residindo.</a:t>
            </a: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endParaRPr lang="pt-BR" sz="2000">
              <a:solidFill>
                <a:prstClr val="white"/>
              </a:solidFill>
              <a:latin typeface="Petrobras Sans XBold" panose="020B0806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92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1" t="5700"/>
          <a:stretch/>
        </p:blipFill>
        <p:spPr>
          <a:xfrm>
            <a:off x="-28877" y="0"/>
            <a:ext cx="12220877" cy="7307607"/>
          </a:xfrm>
          <a:prstGeom prst="rect">
            <a:avLst/>
          </a:prstGeom>
        </p:spPr>
      </p:pic>
      <p:sp>
        <p:nvSpPr>
          <p:cNvPr id="272" name="AutoShape 29"/>
          <p:cNvSpPr>
            <a:spLocks noChangeAspect="1" noChangeArrowheads="1" noTextEdit="1"/>
          </p:cNvSpPr>
          <p:nvPr/>
        </p:nvSpPr>
        <p:spPr bwMode="auto">
          <a:xfrm>
            <a:off x="4589446" y="8376104"/>
            <a:ext cx="587352" cy="581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defTabSz="914347">
              <a:defRPr/>
            </a:pPr>
            <a:endParaRPr lang="pt-BR" sz="23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75063" y="298069"/>
            <a:ext cx="113668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47">
              <a:defRPr/>
            </a:pPr>
            <a:r>
              <a:rPr lang="pt-BR" sz="2800" b="1">
                <a:solidFill>
                  <a:prstClr val="white"/>
                </a:solidFill>
                <a:latin typeface="Petrobras Sans XBold" panose="020B0806020204030204" pitchFamily="34" charset="0"/>
              </a:rPr>
              <a:t>Catálogo de serviços Petrobras</a:t>
            </a:r>
            <a:endParaRPr lang="pt-BR" b="1">
              <a:solidFill>
                <a:prstClr val="white"/>
              </a:solidFill>
              <a:latin typeface="Petrobras Sans XBold" panose="020B0806020204030204" pitchFamily="34" charset="0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28D6834-D2C3-097F-6258-41B0C7BF8DA4}"/>
              </a:ext>
            </a:extLst>
          </p:cNvPr>
          <p:cNvSpPr/>
          <p:nvPr/>
        </p:nvSpPr>
        <p:spPr>
          <a:xfrm>
            <a:off x="0" y="919303"/>
            <a:ext cx="120015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914347">
              <a:buFont typeface="Arial" panose="020B0604020202020204" pitchFamily="34" charset="0"/>
              <a:buChar char="•"/>
              <a:defRPr/>
            </a:pPr>
            <a: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  <a:t>Na unidade da RNEST apenas é autorizado o transporte de empregados próprios.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8DA7E923-5A04-8820-8D66-DB639B300A56}"/>
              </a:ext>
            </a:extLst>
          </p:cNvPr>
          <p:cNvSpPr/>
          <p:nvPr/>
        </p:nvSpPr>
        <p:spPr>
          <a:xfrm>
            <a:off x="-200722" y="5059349"/>
            <a:ext cx="1200150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914347">
              <a:buFont typeface="Arial" panose="020B0604020202020204" pitchFamily="34" charset="0"/>
              <a:buChar char="•"/>
              <a:defRPr/>
            </a:pPr>
            <a:r>
              <a:rPr lang="pt-BR" sz="2000">
                <a:solidFill>
                  <a:schemeClr val="accent2"/>
                </a:solidFill>
                <a:latin typeface="Petrobras Sans XBold" panose="020B0806020204030204" pitchFamily="34" charset="0"/>
              </a:rPr>
              <a:t>Informe a unidade da Petrobras:</a:t>
            </a:r>
          </a:p>
          <a:p>
            <a:pPr marL="342900" indent="-342900" defTabSz="914347">
              <a:buFont typeface="Arial" panose="020B0604020202020204" pitchFamily="34" charset="0"/>
              <a:buChar char="•"/>
              <a:defRPr/>
            </a:pPr>
            <a: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  <a:t>Selecionar a opção demais Unidades</a:t>
            </a: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r>
              <a:rPr lang="pt-BR" sz="2000">
                <a:solidFill>
                  <a:schemeClr val="accent2"/>
                </a:solidFill>
                <a:latin typeface="Petrobras Sans XBold" panose="020B0806020204030204" pitchFamily="34" charset="0"/>
              </a:rPr>
              <a:t>Indique o Imóvel:</a:t>
            </a:r>
          </a:p>
          <a:p>
            <a:pPr marL="342900" indent="-342900" defTabSz="914347">
              <a:buFont typeface="Arial" panose="020B0604020202020204" pitchFamily="34" charset="0"/>
              <a:buChar char="•"/>
              <a:defRPr/>
            </a:pPr>
            <a: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  <a:t>RNEST</a:t>
            </a: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b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</a:br>
            <a:endParaRPr lang="pt-BR" sz="2000">
              <a:solidFill>
                <a:prstClr val="white"/>
              </a:solidFill>
              <a:latin typeface="Petrobras Sans XBold" panose="020B0806020204030204" pitchFamily="34" charset="0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5D4AA25-9EEF-37F7-FFB0-68737F54D4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602" y="1458899"/>
            <a:ext cx="5905500" cy="3600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191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1" t="5700"/>
          <a:stretch/>
        </p:blipFill>
        <p:spPr>
          <a:xfrm>
            <a:off x="-14439" y="0"/>
            <a:ext cx="12220877" cy="7307607"/>
          </a:xfrm>
          <a:prstGeom prst="rect">
            <a:avLst/>
          </a:prstGeom>
        </p:spPr>
      </p:pic>
      <p:sp>
        <p:nvSpPr>
          <p:cNvPr id="272" name="AutoShape 29"/>
          <p:cNvSpPr>
            <a:spLocks noChangeAspect="1" noChangeArrowheads="1" noTextEdit="1"/>
          </p:cNvSpPr>
          <p:nvPr/>
        </p:nvSpPr>
        <p:spPr bwMode="auto">
          <a:xfrm>
            <a:off x="4589446" y="8376104"/>
            <a:ext cx="587352" cy="581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defTabSz="914347">
              <a:defRPr/>
            </a:pPr>
            <a:endParaRPr lang="pt-BR" sz="23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75063" y="298069"/>
            <a:ext cx="113668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47">
              <a:defRPr/>
            </a:pPr>
            <a:r>
              <a:rPr lang="pt-BR" sz="2800" b="1">
                <a:solidFill>
                  <a:prstClr val="white"/>
                </a:solidFill>
                <a:latin typeface="Petrobras Sans XBold" panose="020B0806020204030204" pitchFamily="34" charset="0"/>
              </a:rPr>
              <a:t>Catálogo de serviços Petrobras</a:t>
            </a:r>
            <a:endParaRPr lang="pt-BR" b="1">
              <a:solidFill>
                <a:prstClr val="white"/>
              </a:solidFill>
              <a:latin typeface="Petrobras Sans XBold" panose="020B0806020204030204" pitchFamily="34" charset="0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28D6834-D2C3-097F-6258-41B0C7BF8DA4}"/>
              </a:ext>
            </a:extLst>
          </p:cNvPr>
          <p:cNvSpPr/>
          <p:nvPr/>
        </p:nvSpPr>
        <p:spPr>
          <a:xfrm>
            <a:off x="197004" y="1058789"/>
            <a:ext cx="1136681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47">
              <a:defRPr/>
            </a:pPr>
            <a:r>
              <a:rPr lang="pt-BR" sz="2000">
                <a:solidFill>
                  <a:prstClr val="white"/>
                </a:solidFill>
                <a:latin typeface="Petrobras Sans XBold" panose="020B0806020204030204" pitchFamily="34" charset="0"/>
              </a:rPr>
              <a:t>Os campos de sugestões são obrigatórios o preenchimento, e para o cenários em que o funcionário não souber a rota ou ponto de embarque: descrever como sem informações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13FEFF9-32C2-CCB8-3E0A-94FAEAFD04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004" y="2064480"/>
            <a:ext cx="7800975" cy="336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23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4756" y="3216368"/>
            <a:ext cx="2182488" cy="42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426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0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00&quot; g=&quot;9E&quot; b=&quot;96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X.cXVS2iVaa1ecICpJ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01b1b2a-1c37-41d8-84a1-1e70058654fa" xsi:nil="true"/>
    <lcf76f155ced4ddcb4097134ff3c332f xmlns="3dc77d44-a083-487b-b419-e276f73de36d">
      <Terms xmlns="http://schemas.microsoft.com/office/infopath/2007/PartnerControls"/>
    </lcf76f155ced4ddcb4097134ff3c332f>
    <_Flow_SignoffStatus xmlns="3dc77d44-a083-487b-b419-e276f73de36d" xsi:nil="true"/>
    <SharedWithUsers xmlns="701b1b2a-1c37-41d8-84a1-1e70058654fa">
      <UserInfo>
        <DisplayName>Israel Fonseca Neto</DisplayName>
        <AccountId>952</AccountId>
        <AccountType/>
      </UserInfo>
      <UserInfo>
        <DisplayName>Flávio Henrique da Silva</DisplayName>
        <AccountId>953</AccountId>
        <AccountType/>
      </UserInfo>
      <UserInfo>
        <DisplayName>George Geraldo do Nascimento</DisplayName>
        <AccountId>954</AccountId>
        <AccountType/>
      </UserInfo>
      <UserInfo>
        <DisplayName>Ricardo dos Santos Bezerra</DisplayName>
        <AccountId>955</AccountId>
        <AccountType/>
      </UserInfo>
      <UserInfo>
        <DisplayName>Satiro de Souza Anjos Neto - PrestServ</DisplayName>
        <AccountId>108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C9FE235DC2DCC4C8FB664677D9809EA" ma:contentTypeVersion="18" ma:contentTypeDescription="Crie um novo documento." ma:contentTypeScope="" ma:versionID="ff0f5158d5c0238b5b0ac40fcd1a6768">
  <xsd:schema xmlns:xsd="http://www.w3.org/2001/XMLSchema" xmlns:xs="http://www.w3.org/2001/XMLSchema" xmlns:p="http://schemas.microsoft.com/office/2006/metadata/properties" xmlns:ns2="3dc77d44-a083-487b-b419-e276f73de36d" xmlns:ns3="701b1b2a-1c37-41d8-84a1-1e70058654fa" targetNamespace="http://schemas.microsoft.com/office/2006/metadata/properties" ma:root="true" ma:fieldsID="3d5abe4c6d9161b936211021d81800af" ns2:_="" ns3:_="">
    <xsd:import namespace="3dc77d44-a083-487b-b419-e276f73de36d"/>
    <xsd:import namespace="701b1b2a-1c37-41d8-84a1-1e70058654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Location" minOccurs="0"/>
                <xsd:element ref="ns3:SharedWithUsers" minOccurs="0"/>
                <xsd:element ref="ns3:SharedWithDetails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c77d44-a083-487b-b419-e276f73de3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Marcações de imagem" ma:readOnly="false" ma:fieldId="{5cf76f15-5ced-4ddc-b409-7134ff3c332f}" ma:taxonomyMulti="true" ma:sspId="d566a8fd-94ed-4d49-8999-3a54f140f05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_Flow_SignoffStatus" ma:index="21" nillable="true" ma:displayName="Status de liberação" ma:internalName="Status_x0020_de_x0020_libera_x00e7__x00e3_o">
      <xsd:simpleType>
        <xsd:restriction base="dms:Text"/>
      </xsd:simple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1b1b2a-1c37-41d8-84a1-1e70058654fa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8a94b70-cfaf-4bba-9c6e-0cd1f16c9e65}" ma:internalName="TaxCatchAll" ma:showField="CatchAllData" ma:web="701b1b2a-1c37-41d8-84a1-1e70058654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6152425-42E1-451F-B093-8C140D18BE38}">
  <ds:schemaRefs>
    <ds:schemaRef ds:uri="3dc77d44-a083-487b-b419-e276f73de36d"/>
    <ds:schemaRef ds:uri="701b1b2a-1c37-41d8-84a1-1e70058654fa"/>
    <ds:schemaRef ds:uri="ecf3212f-6c91-4dc1-afd8-6d60b0670e7e"/>
    <ds:schemaRef ds:uri="f7173e8a-56df-44df-bf10-c7773b5f5d1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F5A6F84-F605-4544-B629-12117461C42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F70E54-F88A-4D53-A45E-421E7CE3A1BF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5</Words>
  <Application>Microsoft Office PowerPoint</Application>
  <PresentationFormat>Widescreen</PresentationFormat>
  <Paragraphs>44</Paragraphs>
  <Slides>7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Petrobras Sans</vt:lpstr>
      <vt:lpstr>Petrobras Sans Light</vt:lpstr>
      <vt:lpstr>Petrobras Sans XBold</vt:lpstr>
      <vt:lpstr>Trebuchet MS</vt:lpstr>
      <vt:lpstr>2_Tema do Office</vt:lpstr>
      <vt:lpstr>1_Personalizar design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Petrobr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Leonardo Bruno Vieira de Souza</dc:creator>
  <cp:lastModifiedBy>Carlos Alberto Bezerra da Silva - PrestServ</cp:lastModifiedBy>
  <cp:revision>1</cp:revision>
  <cp:lastPrinted>2019-10-11T15:10:00Z</cp:lastPrinted>
  <dcterms:created xsi:type="dcterms:W3CDTF">2019-06-05T13:00:50Z</dcterms:created>
  <dcterms:modified xsi:type="dcterms:W3CDTF">2023-06-09T16:3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e61996e-cafd-4c9a-8a94-2dc1b82131ae_Enabled">
    <vt:lpwstr>true</vt:lpwstr>
  </property>
  <property fmtid="{D5CDD505-2E9C-101B-9397-08002B2CF9AE}" pid="3" name="MSIP_Label_8e61996e-cafd-4c9a-8a94-2dc1b82131ae_SetDate">
    <vt:lpwstr>2020-10-08T22:08:03Z</vt:lpwstr>
  </property>
  <property fmtid="{D5CDD505-2E9C-101B-9397-08002B2CF9AE}" pid="4" name="MSIP_Label_8e61996e-cafd-4c9a-8a94-2dc1b82131ae_Method">
    <vt:lpwstr>Standard</vt:lpwstr>
  </property>
  <property fmtid="{D5CDD505-2E9C-101B-9397-08002B2CF9AE}" pid="5" name="MSIP_Label_8e61996e-cafd-4c9a-8a94-2dc1b82131ae_Name">
    <vt:lpwstr>NP-1</vt:lpwstr>
  </property>
  <property fmtid="{D5CDD505-2E9C-101B-9397-08002B2CF9AE}" pid="6" name="MSIP_Label_8e61996e-cafd-4c9a-8a94-2dc1b82131ae_SiteId">
    <vt:lpwstr>5b6f6241-9a57-4be4-8e50-1dfa72e79a57</vt:lpwstr>
  </property>
  <property fmtid="{D5CDD505-2E9C-101B-9397-08002B2CF9AE}" pid="7" name="MSIP_Label_8e61996e-cafd-4c9a-8a94-2dc1b82131ae_ActionId">
    <vt:lpwstr>a396c8b1-a6b5-477d-94d8-0d6233290f22</vt:lpwstr>
  </property>
  <property fmtid="{D5CDD505-2E9C-101B-9397-08002B2CF9AE}" pid="8" name="MSIP_Label_8e61996e-cafd-4c9a-8a94-2dc1b82131ae_ContentBits">
    <vt:lpwstr>0</vt:lpwstr>
  </property>
  <property fmtid="{D5CDD505-2E9C-101B-9397-08002B2CF9AE}" pid="9" name="ContentTypeId">
    <vt:lpwstr>0x0101003C9FE235DC2DCC4C8FB664677D9809EA</vt:lpwstr>
  </property>
  <property fmtid="{D5CDD505-2E9C-101B-9397-08002B2CF9AE}" pid="10" name="MediaServiceImageTags">
    <vt:lpwstr/>
  </property>
</Properties>
</file>